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4484" r:id="rId1"/>
  </p:sldMasterIdLst>
  <p:notesMasterIdLst>
    <p:notesMasterId r:id="rId11"/>
  </p:notesMasterIdLst>
  <p:handoutMasterIdLst>
    <p:handoutMasterId r:id="rId12"/>
  </p:handoutMasterIdLst>
  <p:sldIdLst>
    <p:sldId id="293" r:id="rId2"/>
    <p:sldId id="1988" r:id="rId3"/>
    <p:sldId id="1989" r:id="rId4"/>
    <p:sldId id="1990" r:id="rId5"/>
    <p:sldId id="1991" r:id="rId6"/>
    <p:sldId id="1994" r:id="rId7"/>
    <p:sldId id="1993" r:id="rId8"/>
    <p:sldId id="1992" r:id="rId9"/>
    <p:sldId id="1965" r:id="rId10"/>
  </p:sldIdLst>
  <p:sldSz cx="12192000" cy="6858000"/>
  <p:notesSz cx="6858000" cy="9144000"/>
  <p:embeddedFontLst>
    <p:embeddedFont>
      <p:font typeface="Wingdings 3" panose="05040102010807070707" pitchFamily="18" charset="2"/>
      <p:regular r:id="rId13"/>
    </p:embeddedFont>
  </p:embeddedFont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C308"/>
    <a:srgbClr val="5A61A0"/>
    <a:srgbClr val="002BC4"/>
    <a:srgbClr val="1E7BE6"/>
    <a:srgbClr val="FD7627"/>
    <a:srgbClr val="88BF2C"/>
    <a:srgbClr val="053BFF"/>
    <a:srgbClr val="4B72FF"/>
    <a:srgbClr val="001F87"/>
    <a:srgbClr val="FFEA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69" autoAdjust="0"/>
    <p:restoredTop sz="94660"/>
  </p:normalViewPr>
  <p:slideViewPr>
    <p:cSldViewPr snapToGrid="0">
      <p:cViewPr varScale="1">
        <p:scale>
          <a:sx n="136" d="100"/>
          <a:sy n="136" d="100"/>
        </p:scale>
        <p:origin x="247" y="82"/>
      </p:cViewPr>
      <p:guideLst/>
    </p:cSldViewPr>
  </p:slideViewPr>
  <p:notesTextViewPr>
    <p:cViewPr>
      <p:scale>
        <a:sx n="1" d="1"/>
        <a:sy n="1" d="1"/>
      </p:scale>
      <p:origin x="0" y="0"/>
    </p:cViewPr>
  </p:notesTextViewPr>
  <p:sorterViewPr>
    <p:cViewPr>
      <p:scale>
        <a:sx n="100" d="100"/>
        <a:sy n="100" d="100"/>
      </p:scale>
      <p:origin x="0" y="-3774"/>
    </p:cViewPr>
  </p:sorterViewPr>
  <p:notesViewPr>
    <p:cSldViewPr snapToGrid="0">
      <p:cViewPr varScale="1">
        <p:scale>
          <a:sx n="83" d="100"/>
          <a:sy n="83" d="100"/>
        </p:scale>
        <p:origin x="2514" y="108"/>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1.fntdata"/><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8CD2C08-64BB-4E1E-9AE3-A707EA1525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a:extLst>
              <a:ext uri="{FF2B5EF4-FFF2-40B4-BE49-F238E27FC236}">
                <a16:creationId xmlns:a16="http://schemas.microsoft.com/office/drawing/2014/main" id="{5FA214A3-0CF3-48CE-A7AA-2C6072EFC2C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C4539F0-EF17-4135-960C-B5441AD7BE8D}" type="datetimeFigureOut">
              <a:rPr lang="en-US" smtClean="0">
                <a:latin typeface="Arial" panose="020B0604020202020204" pitchFamily="34" charset="0"/>
              </a:rPr>
              <a:t>2020-12-01</a:t>
            </a:fld>
            <a:endParaRPr lang="en-US" dirty="0">
              <a:latin typeface="Arial" panose="020B0604020202020204" pitchFamily="34" charset="0"/>
            </a:endParaRPr>
          </a:p>
        </p:txBody>
      </p:sp>
      <p:sp>
        <p:nvSpPr>
          <p:cNvPr id="4" name="Footer Placeholder 3">
            <a:extLst>
              <a:ext uri="{FF2B5EF4-FFF2-40B4-BE49-F238E27FC236}">
                <a16:creationId xmlns:a16="http://schemas.microsoft.com/office/drawing/2014/main" id="{90EEABF4-B62E-4F4F-AB38-0965844738D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a:extLst>
              <a:ext uri="{FF2B5EF4-FFF2-40B4-BE49-F238E27FC236}">
                <a16:creationId xmlns:a16="http://schemas.microsoft.com/office/drawing/2014/main" id="{2FACEAE8-DD4E-4FDF-9268-718B6A686AE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8B446E-4F07-403E-BF41-B7B29C8CA48C}"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560134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E47DA482-11F4-4714-A1C7-9A90733BADE9}" type="datetimeFigureOut">
              <a:rPr lang="en-US" smtClean="0"/>
              <a:pPr/>
              <a:t>2020-12-0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D076295-620E-4F3C-95A6-6AFF0D3A9339}" type="slidenum">
              <a:rPr lang="en-US" smtClean="0"/>
              <a:pPr/>
              <a:t>‹#›</a:t>
            </a:fld>
            <a:endParaRPr lang="en-US" dirty="0"/>
          </a:p>
        </p:txBody>
      </p:sp>
    </p:spTree>
    <p:extLst>
      <p:ext uri="{BB962C8B-B14F-4D97-AF65-F5344CB8AC3E}">
        <p14:creationId xmlns:p14="http://schemas.microsoft.com/office/powerpoint/2010/main" val="3385108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6.bin"/><Relationship Id="rId18" Type="http://schemas.openxmlformats.org/officeDocument/2006/relationships/oleObject" Target="../embeddings/oleObject10.bin"/><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Master" Target="../slideMasters/slideMaster1.xml"/><Relationship Id="rId17" Type="http://schemas.openxmlformats.org/officeDocument/2006/relationships/oleObject" Target="../embeddings/oleObject9.bin"/><Relationship Id="rId2" Type="http://schemas.openxmlformats.org/officeDocument/2006/relationships/tags" Target="../tags/tag12.xml"/><Relationship Id="rId16" Type="http://schemas.openxmlformats.org/officeDocument/2006/relationships/oleObject" Target="../embeddings/oleObject8.bin"/><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oleObject" Target="../embeddings/oleObject7.bin"/><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C66C825-29CF-422B-9BFE-ABCFF6F030BD}"/>
              </a:ext>
            </a:extLst>
          </p:cNvPr>
          <p:cNvGrpSpPr/>
          <p:nvPr/>
        </p:nvGrpSpPr>
        <p:grpSpPr>
          <a:xfrm>
            <a:off x="1" y="1588"/>
            <a:ext cx="5521325" cy="6856412"/>
            <a:chOff x="1" y="1588"/>
            <a:chExt cx="5521325" cy="6856412"/>
          </a:xfrm>
        </p:grpSpPr>
        <p:sp>
          <p:nvSpPr>
            <p:cNvPr id="4" name="Freeform 5">
              <a:extLst>
                <a:ext uri="{FF2B5EF4-FFF2-40B4-BE49-F238E27FC236}">
                  <a16:creationId xmlns:a16="http://schemas.microsoft.com/office/drawing/2014/main" id="{4635222D-0315-4783-96D6-E690679D747B}"/>
                </a:ext>
              </a:extLst>
            </p:cNvPr>
            <p:cNvSpPr>
              <a:spLocks/>
            </p:cNvSpPr>
            <p:nvPr/>
          </p:nvSpPr>
          <p:spPr bwMode="auto">
            <a:xfrm>
              <a:off x="1" y="1588"/>
              <a:ext cx="5172075" cy="6856412"/>
            </a:xfrm>
            <a:custGeom>
              <a:avLst/>
              <a:gdLst>
                <a:gd name="T0" fmla="*/ 0 w 3258"/>
                <a:gd name="T1" fmla="*/ 0 h 4319"/>
                <a:gd name="T2" fmla="*/ 1739 w 3258"/>
                <a:gd name="T3" fmla="*/ 0 h 4319"/>
                <a:gd name="T4" fmla="*/ 2581 w 3258"/>
                <a:gd name="T5" fmla="*/ 699 h 4319"/>
                <a:gd name="T6" fmla="*/ 3258 w 3258"/>
                <a:gd name="T7" fmla="*/ 1888 h 4319"/>
                <a:gd name="T8" fmla="*/ 2643 w 3258"/>
                <a:gd name="T9" fmla="*/ 4319 h 4319"/>
                <a:gd name="T10" fmla="*/ 0 w 3258"/>
                <a:gd name="T11" fmla="*/ 4319 h 4319"/>
                <a:gd name="T12" fmla="*/ 0 w 325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258" h="4319">
                  <a:moveTo>
                    <a:pt x="0" y="0"/>
                  </a:moveTo>
                  <a:lnTo>
                    <a:pt x="1739" y="0"/>
                  </a:lnTo>
                  <a:lnTo>
                    <a:pt x="2581" y="699"/>
                  </a:lnTo>
                  <a:lnTo>
                    <a:pt x="3258" y="1888"/>
                  </a:lnTo>
                  <a:lnTo>
                    <a:pt x="2643" y="4319"/>
                  </a:lnTo>
                  <a:lnTo>
                    <a:pt x="0" y="4319"/>
                  </a:lnTo>
                  <a:lnTo>
                    <a:pt x="0" y="0"/>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
              <a:extLst>
                <a:ext uri="{FF2B5EF4-FFF2-40B4-BE49-F238E27FC236}">
                  <a16:creationId xmlns:a16="http://schemas.microsoft.com/office/drawing/2014/main" id="{D5F6BC5B-6F1D-4B20-9A7D-BB5D8783B359}"/>
                </a:ext>
              </a:extLst>
            </p:cNvPr>
            <p:cNvSpPr>
              <a:spLocks/>
            </p:cNvSpPr>
            <p:nvPr/>
          </p:nvSpPr>
          <p:spPr bwMode="auto">
            <a:xfrm>
              <a:off x="2760663" y="1588"/>
              <a:ext cx="1336675" cy="1109662"/>
            </a:xfrm>
            <a:custGeom>
              <a:avLst/>
              <a:gdLst>
                <a:gd name="T0" fmla="*/ 842 w 842"/>
                <a:gd name="T1" fmla="*/ 699 h 699"/>
                <a:gd name="T2" fmla="*/ 443 w 842"/>
                <a:gd name="T3" fmla="*/ 0 h 699"/>
                <a:gd name="T4" fmla="*/ 0 w 842"/>
                <a:gd name="T5" fmla="*/ 0 h 699"/>
                <a:gd name="T6" fmla="*/ 842 w 842"/>
                <a:gd name="T7" fmla="*/ 699 h 699"/>
              </a:gdLst>
              <a:ahLst/>
              <a:cxnLst>
                <a:cxn ang="0">
                  <a:pos x="T0" y="T1"/>
                </a:cxn>
                <a:cxn ang="0">
                  <a:pos x="T2" y="T3"/>
                </a:cxn>
                <a:cxn ang="0">
                  <a:pos x="T4" y="T5"/>
                </a:cxn>
                <a:cxn ang="0">
                  <a:pos x="T6" y="T7"/>
                </a:cxn>
              </a:cxnLst>
              <a:rect l="0" t="0" r="r" b="b"/>
              <a:pathLst>
                <a:path w="842" h="699">
                  <a:moveTo>
                    <a:pt x="842" y="699"/>
                  </a:moveTo>
                  <a:lnTo>
                    <a:pt x="443" y="0"/>
                  </a:lnTo>
                  <a:lnTo>
                    <a:pt x="0" y="0"/>
                  </a:lnTo>
                  <a:lnTo>
                    <a:pt x="842" y="699"/>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81AE8D94-B6B9-44B3-B158-8DD8BD7358E9}"/>
                </a:ext>
              </a:extLst>
            </p:cNvPr>
            <p:cNvSpPr>
              <a:spLocks/>
            </p:cNvSpPr>
            <p:nvPr/>
          </p:nvSpPr>
          <p:spPr bwMode="auto">
            <a:xfrm>
              <a:off x="3449412" y="1588"/>
              <a:ext cx="1306513" cy="1670050"/>
            </a:xfrm>
            <a:custGeom>
              <a:avLst/>
              <a:gdLst>
                <a:gd name="T0" fmla="*/ 0 w 823"/>
                <a:gd name="T1" fmla="*/ 0 h 1052"/>
                <a:gd name="T2" fmla="*/ 399 w 823"/>
                <a:gd name="T3" fmla="*/ 699 h 1052"/>
                <a:gd name="T4" fmla="*/ 823 w 823"/>
                <a:gd name="T5" fmla="*/ 1052 h 1052"/>
                <a:gd name="T6" fmla="*/ 531 w 823"/>
                <a:gd name="T7" fmla="*/ 0 h 1052"/>
                <a:gd name="T8" fmla="*/ 0 w 823"/>
                <a:gd name="T9" fmla="*/ 0 h 1052"/>
              </a:gdLst>
              <a:ahLst/>
              <a:cxnLst>
                <a:cxn ang="0">
                  <a:pos x="T0" y="T1"/>
                </a:cxn>
                <a:cxn ang="0">
                  <a:pos x="T2" y="T3"/>
                </a:cxn>
                <a:cxn ang="0">
                  <a:pos x="T4" y="T5"/>
                </a:cxn>
                <a:cxn ang="0">
                  <a:pos x="T6" y="T7"/>
                </a:cxn>
                <a:cxn ang="0">
                  <a:pos x="T8" y="T9"/>
                </a:cxn>
              </a:cxnLst>
              <a:rect l="0" t="0" r="r" b="b"/>
              <a:pathLst>
                <a:path w="823" h="1052">
                  <a:moveTo>
                    <a:pt x="0" y="0"/>
                  </a:moveTo>
                  <a:lnTo>
                    <a:pt x="399" y="699"/>
                  </a:lnTo>
                  <a:lnTo>
                    <a:pt x="823" y="1052"/>
                  </a:lnTo>
                  <a:lnTo>
                    <a:pt x="531" y="0"/>
                  </a:lnTo>
                  <a:lnTo>
                    <a:pt x="0" y="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E47811C8-8003-46E0-91ED-FA505E768AB2}"/>
                </a:ext>
              </a:extLst>
            </p:cNvPr>
            <p:cNvSpPr>
              <a:spLocks/>
            </p:cNvSpPr>
            <p:nvPr/>
          </p:nvSpPr>
          <p:spPr bwMode="auto">
            <a:xfrm>
              <a:off x="4097338" y="1111250"/>
              <a:ext cx="1009650" cy="1774825"/>
            </a:xfrm>
            <a:custGeom>
              <a:avLst/>
              <a:gdLst>
                <a:gd name="T0" fmla="*/ 424 w 636"/>
                <a:gd name="T1" fmla="*/ 353 h 1118"/>
                <a:gd name="T2" fmla="*/ 0 w 636"/>
                <a:gd name="T3" fmla="*/ 0 h 1118"/>
                <a:gd name="T4" fmla="*/ 636 w 636"/>
                <a:gd name="T5" fmla="*/ 1118 h 1118"/>
                <a:gd name="T6" fmla="*/ 424 w 636"/>
                <a:gd name="T7" fmla="*/ 353 h 1118"/>
              </a:gdLst>
              <a:ahLst/>
              <a:cxnLst>
                <a:cxn ang="0">
                  <a:pos x="T0" y="T1"/>
                </a:cxn>
                <a:cxn ang="0">
                  <a:pos x="T2" y="T3"/>
                </a:cxn>
                <a:cxn ang="0">
                  <a:pos x="T4" y="T5"/>
                </a:cxn>
                <a:cxn ang="0">
                  <a:pos x="T6" y="T7"/>
                </a:cxn>
              </a:cxnLst>
              <a:rect l="0" t="0" r="r" b="b"/>
              <a:pathLst>
                <a:path w="636" h="1118">
                  <a:moveTo>
                    <a:pt x="424" y="353"/>
                  </a:moveTo>
                  <a:lnTo>
                    <a:pt x="0" y="0"/>
                  </a:lnTo>
                  <a:lnTo>
                    <a:pt x="636" y="1118"/>
                  </a:lnTo>
                  <a:lnTo>
                    <a:pt x="424" y="353"/>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9">
              <a:extLst>
                <a:ext uri="{FF2B5EF4-FFF2-40B4-BE49-F238E27FC236}">
                  <a16:creationId xmlns:a16="http://schemas.microsoft.com/office/drawing/2014/main" id="{AED6DD98-B107-4A15-8DD3-981C6FC93B1C}"/>
                </a:ext>
              </a:extLst>
            </p:cNvPr>
            <p:cNvSpPr>
              <a:spLocks/>
            </p:cNvSpPr>
            <p:nvPr/>
          </p:nvSpPr>
          <p:spPr bwMode="auto">
            <a:xfrm>
              <a:off x="4770438" y="1671638"/>
              <a:ext cx="750888" cy="1327150"/>
            </a:xfrm>
            <a:custGeom>
              <a:avLst/>
              <a:gdLst>
                <a:gd name="T0" fmla="*/ 0 w 473"/>
                <a:gd name="T1" fmla="*/ 0 h 836"/>
                <a:gd name="T2" fmla="*/ 212 w 473"/>
                <a:gd name="T3" fmla="*/ 765 h 836"/>
                <a:gd name="T4" fmla="*/ 253 w 473"/>
                <a:gd name="T5" fmla="*/ 836 h 836"/>
                <a:gd name="T6" fmla="*/ 473 w 473"/>
                <a:gd name="T7" fmla="*/ 393 h 836"/>
                <a:gd name="T8" fmla="*/ 0 w 473"/>
                <a:gd name="T9" fmla="*/ 0 h 836"/>
              </a:gdLst>
              <a:ahLst/>
              <a:cxnLst>
                <a:cxn ang="0">
                  <a:pos x="T0" y="T1"/>
                </a:cxn>
                <a:cxn ang="0">
                  <a:pos x="T2" y="T3"/>
                </a:cxn>
                <a:cxn ang="0">
                  <a:pos x="T4" y="T5"/>
                </a:cxn>
                <a:cxn ang="0">
                  <a:pos x="T6" y="T7"/>
                </a:cxn>
                <a:cxn ang="0">
                  <a:pos x="T8" y="T9"/>
                </a:cxn>
              </a:cxnLst>
              <a:rect l="0" t="0" r="r" b="b"/>
              <a:pathLst>
                <a:path w="473" h="836">
                  <a:moveTo>
                    <a:pt x="0" y="0"/>
                  </a:moveTo>
                  <a:lnTo>
                    <a:pt x="212" y="765"/>
                  </a:lnTo>
                  <a:lnTo>
                    <a:pt x="253" y="836"/>
                  </a:lnTo>
                  <a:lnTo>
                    <a:pt x="473" y="393"/>
                  </a:lnTo>
                  <a:lnTo>
                    <a:pt x="0" y="0"/>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0">
              <a:extLst>
                <a:ext uri="{FF2B5EF4-FFF2-40B4-BE49-F238E27FC236}">
                  <a16:creationId xmlns:a16="http://schemas.microsoft.com/office/drawing/2014/main" id="{B8D85966-5373-4D66-B1BA-96D52CE14BD8}"/>
                </a:ext>
              </a:extLst>
            </p:cNvPr>
            <p:cNvSpPr>
              <a:spLocks/>
            </p:cNvSpPr>
            <p:nvPr/>
          </p:nvSpPr>
          <p:spPr bwMode="auto">
            <a:xfrm>
              <a:off x="3949701" y="3040063"/>
              <a:ext cx="1412875" cy="2417762"/>
            </a:xfrm>
            <a:custGeom>
              <a:avLst/>
              <a:gdLst>
                <a:gd name="T0" fmla="*/ 756 w 890"/>
                <a:gd name="T1" fmla="*/ 0 h 1523"/>
                <a:gd name="T2" fmla="*/ 0 w 890"/>
                <a:gd name="T3" fmla="*/ 1523 h 1523"/>
                <a:gd name="T4" fmla="*/ 890 w 890"/>
                <a:gd name="T5" fmla="*/ 477 h 1523"/>
                <a:gd name="T6" fmla="*/ 756 w 890"/>
                <a:gd name="T7" fmla="*/ 0 h 1523"/>
              </a:gdLst>
              <a:ahLst/>
              <a:cxnLst>
                <a:cxn ang="0">
                  <a:pos x="T0" y="T1"/>
                </a:cxn>
                <a:cxn ang="0">
                  <a:pos x="T2" y="T3"/>
                </a:cxn>
                <a:cxn ang="0">
                  <a:pos x="T4" y="T5"/>
                </a:cxn>
                <a:cxn ang="0">
                  <a:pos x="T6" y="T7"/>
                </a:cxn>
              </a:cxnLst>
              <a:rect l="0" t="0" r="r" b="b"/>
              <a:pathLst>
                <a:path w="890" h="1523">
                  <a:moveTo>
                    <a:pt x="756" y="0"/>
                  </a:moveTo>
                  <a:lnTo>
                    <a:pt x="0" y="1523"/>
                  </a:lnTo>
                  <a:lnTo>
                    <a:pt x="890" y="477"/>
                  </a:lnTo>
                  <a:lnTo>
                    <a:pt x="756" y="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1">
              <a:extLst>
                <a:ext uri="{FF2B5EF4-FFF2-40B4-BE49-F238E27FC236}">
                  <a16:creationId xmlns:a16="http://schemas.microsoft.com/office/drawing/2014/main" id="{18D062D2-0195-437C-8BB7-AE8380543B4E}"/>
                </a:ext>
              </a:extLst>
            </p:cNvPr>
            <p:cNvSpPr>
              <a:spLocks/>
            </p:cNvSpPr>
            <p:nvPr/>
          </p:nvSpPr>
          <p:spPr bwMode="auto">
            <a:xfrm>
              <a:off x="5139093" y="2998788"/>
              <a:ext cx="371475" cy="798512"/>
            </a:xfrm>
            <a:custGeom>
              <a:avLst/>
              <a:gdLst>
                <a:gd name="T0" fmla="*/ 0 w 234"/>
                <a:gd name="T1" fmla="*/ 26 h 503"/>
                <a:gd name="T2" fmla="*/ 134 w 234"/>
                <a:gd name="T3" fmla="*/ 503 h 503"/>
                <a:gd name="T4" fmla="*/ 234 w 234"/>
                <a:gd name="T5" fmla="*/ 386 h 503"/>
                <a:gd name="T6" fmla="*/ 14 w 234"/>
                <a:gd name="T7" fmla="*/ 0 h 503"/>
                <a:gd name="T8" fmla="*/ 0 w 234"/>
                <a:gd name="T9" fmla="*/ 26 h 503"/>
              </a:gdLst>
              <a:ahLst/>
              <a:cxnLst>
                <a:cxn ang="0">
                  <a:pos x="T0" y="T1"/>
                </a:cxn>
                <a:cxn ang="0">
                  <a:pos x="T2" y="T3"/>
                </a:cxn>
                <a:cxn ang="0">
                  <a:pos x="T4" y="T5"/>
                </a:cxn>
                <a:cxn ang="0">
                  <a:pos x="T6" y="T7"/>
                </a:cxn>
                <a:cxn ang="0">
                  <a:pos x="T8" y="T9"/>
                </a:cxn>
              </a:cxnLst>
              <a:rect l="0" t="0" r="r" b="b"/>
              <a:pathLst>
                <a:path w="234" h="503">
                  <a:moveTo>
                    <a:pt x="0" y="26"/>
                  </a:moveTo>
                  <a:lnTo>
                    <a:pt x="134" y="503"/>
                  </a:lnTo>
                  <a:lnTo>
                    <a:pt x="234" y="386"/>
                  </a:lnTo>
                  <a:lnTo>
                    <a:pt x="14" y="0"/>
                  </a:lnTo>
                  <a:lnTo>
                    <a:pt x="0" y="26"/>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2">
              <a:extLst>
                <a:ext uri="{FF2B5EF4-FFF2-40B4-BE49-F238E27FC236}">
                  <a16:creationId xmlns:a16="http://schemas.microsoft.com/office/drawing/2014/main" id="{C5EE8B3A-CADD-49C2-9403-07D1EBAD0A94}"/>
                </a:ext>
              </a:extLst>
            </p:cNvPr>
            <p:cNvSpPr>
              <a:spLocks/>
            </p:cNvSpPr>
            <p:nvPr/>
          </p:nvSpPr>
          <p:spPr bwMode="auto">
            <a:xfrm>
              <a:off x="3254376" y="3797300"/>
              <a:ext cx="2266950" cy="3060700"/>
            </a:xfrm>
            <a:custGeom>
              <a:avLst/>
              <a:gdLst>
                <a:gd name="T0" fmla="*/ 1328 w 1428"/>
                <a:gd name="T1" fmla="*/ 0 h 1928"/>
                <a:gd name="T2" fmla="*/ 438 w 1428"/>
                <a:gd name="T3" fmla="*/ 1046 h 1928"/>
                <a:gd name="T4" fmla="*/ 0 w 1428"/>
                <a:gd name="T5" fmla="*/ 1928 h 1928"/>
                <a:gd name="T6" fmla="*/ 593 w 1428"/>
                <a:gd name="T7" fmla="*/ 1928 h 1928"/>
                <a:gd name="T8" fmla="*/ 1428 w 1428"/>
                <a:gd name="T9" fmla="*/ 363 h 1928"/>
                <a:gd name="T10" fmla="*/ 1328 w 1428"/>
                <a:gd name="T11" fmla="*/ 0 h 1928"/>
              </a:gdLst>
              <a:ahLst/>
              <a:cxnLst>
                <a:cxn ang="0">
                  <a:pos x="T0" y="T1"/>
                </a:cxn>
                <a:cxn ang="0">
                  <a:pos x="T2" y="T3"/>
                </a:cxn>
                <a:cxn ang="0">
                  <a:pos x="T4" y="T5"/>
                </a:cxn>
                <a:cxn ang="0">
                  <a:pos x="T6" y="T7"/>
                </a:cxn>
                <a:cxn ang="0">
                  <a:pos x="T8" y="T9"/>
                </a:cxn>
                <a:cxn ang="0">
                  <a:pos x="T10" y="T11"/>
                </a:cxn>
              </a:cxnLst>
              <a:rect l="0" t="0" r="r" b="b"/>
              <a:pathLst>
                <a:path w="1428" h="1928">
                  <a:moveTo>
                    <a:pt x="1328" y="0"/>
                  </a:moveTo>
                  <a:lnTo>
                    <a:pt x="438" y="1046"/>
                  </a:lnTo>
                  <a:lnTo>
                    <a:pt x="0" y="1928"/>
                  </a:lnTo>
                  <a:lnTo>
                    <a:pt x="593" y="1928"/>
                  </a:lnTo>
                  <a:lnTo>
                    <a:pt x="1428" y="363"/>
                  </a:lnTo>
                  <a:lnTo>
                    <a:pt x="1328" y="0"/>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3">
              <a:extLst>
                <a:ext uri="{FF2B5EF4-FFF2-40B4-BE49-F238E27FC236}">
                  <a16:creationId xmlns:a16="http://schemas.microsoft.com/office/drawing/2014/main" id="{F98BA4DA-1EF5-42FB-AFCF-0A022574E8B6}"/>
                </a:ext>
              </a:extLst>
            </p:cNvPr>
            <p:cNvSpPr>
              <a:spLocks/>
            </p:cNvSpPr>
            <p:nvPr/>
          </p:nvSpPr>
          <p:spPr bwMode="auto">
            <a:xfrm>
              <a:off x="2760663" y="5457825"/>
              <a:ext cx="1189038" cy="1400175"/>
            </a:xfrm>
            <a:custGeom>
              <a:avLst/>
              <a:gdLst>
                <a:gd name="T0" fmla="*/ 311 w 749"/>
                <a:gd name="T1" fmla="*/ 882 h 882"/>
                <a:gd name="T2" fmla="*/ 749 w 749"/>
                <a:gd name="T3" fmla="*/ 0 h 882"/>
                <a:gd name="T4" fmla="*/ 0 w 749"/>
                <a:gd name="T5" fmla="*/ 882 h 882"/>
                <a:gd name="T6" fmla="*/ 311 w 749"/>
                <a:gd name="T7" fmla="*/ 882 h 882"/>
              </a:gdLst>
              <a:ahLst/>
              <a:cxnLst>
                <a:cxn ang="0">
                  <a:pos x="T0" y="T1"/>
                </a:cxn>
                <a:cxn ang="0">
                  <a:pos x="T2" y="T3"/>
                </a:cxn>
                <a:cxn ang="0">
                  <a:pos x="T4" y="T5"/>
                </a:cxn>
                <a:cxn ang="0">
                  <a:pos x="T6" y="T7"/>
                </a:cxn>
              </a:cxnLst>
              <a:rect l="0" t="0" r="r" b="b"/>
              <a:pathLst>
                <a:path w="749" h="882">
                  <a:moveTo>
                    <a:pt x="311" y="882"/>
                  </a:moveTo>
                  <a:lnTo>
                    <a:pt x="749" y="0"/>
                  </a:lnTo>
                  <a:lnTo>
                    <a:pt x="0" y="882"/>
                  </a:lnTo>
                  <a:lnTo>
                    <a:pt x="311" y="882"/>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7CFEFF7C-FC8E-4E69-9F52-660BCFDAC4D1}"/>
              </a:ext>
            </a:extLst>
          </p:cNvPr>
          <p:cNvGrpSpPr>
            <a:grpSpLocks/>
          </p:cNvGrpSpPr>
          <p:nvPr/>
        </p:nvGrpSpPr>
        <p:grpSpPr>
          <a:xfrm>
            <a:off x="6253390" y="1378143"/>
            <a:ext cx="2445002" cy="586989"/>
            <a:chOff x="4124325" y="4591050"/>
            <a:chExt cx="2479675" cy="595313"/>
          </a:xfrm>
        </p:grpSpPr>
        <p:grpSp>
          <p:nvGrpSpPr>
            <p:cNvPr id="14" name="Group 13">
              <a:extLst>
                <a:ext uri="{FF2B5EF4-FFF2-40B4-BE49-F238E27FC236}">
                  <a16:creationId xmlns:a16="http://schemas.microsoft.com/office/drawing/2014/main" id="{83154726-4EE4-47ED-A212-50F7CAB11B26}"/>
                </a:ext>
              </a:extLst>
            </p:cNvPr>
            <p:cNvGrpSpPr/>
            <p:nvPr/>
          </p:nvGrpSpPr>
          <p:grpSpPr>
            <a:xfrm>
              <a:off x="4124325" y="4591050"/>
              <a:ext cx="460375" cy="595313"/>
              <a:chOff x="4124325" y="4591050"/>
              <a:chExt cx="460375" cy="595313"/>
            </a:xfrm>
          </p:grpSpPr>
          <p:sp>
            <p:nvSpPr>
              <p:cNvPr id="16" name="Freeform 25">
                <a:extLst>
                  <a:ext uri="{FF2B5EF4-FFF2-40B4-BE49-F238E27FC236}">
                    <a16:creationId xmlns:a16="http://schemas.microsoft.com/office/drawing/2014/main" id="{FBC573F0-0275-4D44-B3FE-D08A0F184FB0}"/>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6">
                <a:extLst>
                  <a:ext uri="{FF2B5EF4-FFF2-40B4-BE49-F238E27FC236}">
                    <a16:creationId xmlns:a16="http://schemas.microsoft.com/office/drawing/2014/main" id="{D6F1A854-E92E-48CA-ADAD-585911B0CE6F}"/>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7">
                <a:extLst>
                  <a:ext uri="{FF2B5EF4-FFF2-40B4-BE49-F238E27FC236}">
                    <a16:creationId xmlns:a16="http://schemas.microsoft.com/office/drawing/2014/main" id="{B27D6C3A-FC76-42D5-BEB4-A0761B45A885}"/>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8">
                <a:extLst>
                  <a:ext uri="{FF2B5EF4-FFF2-40B4-BE49-F238E27FC236}">
                    <a16:creationId xmlns:a16="http://schemas.microsoft.com/office/drawing/2014/main" id="{D9ECE05A-6B6C-47CA-93CA-AA9BA2885CCA}"/>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9">
                <a:extLst>
                  <a:ext uri="{FF2B5EF4-FFF2-40B4-BE49-F238E27FC236}">
                    <a16:creationId xmlns:a16="http://schemas.microsoft.com/office/drawing/2014/main" id="{4917CDE8-FDCC-43E0-86B9-E34AEB479303}"/>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0">
                <a:extLst>
                  <a:ext uri="{FF2B5EF4-FFF2-40B4-BE49-F238E27FC236}">
                    <a16:creationId xmlns:a16="http://schemas.microsoft.com/office/drawing/2014/main" id="{D61F04B0-0841-41C9-B561-3CA1B1AF6B0F}"/>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1">
                <a:extLst>
                  <a:ext uri="{FF2B5EF4-FFF2-40B4-BE49-F238E27FC236}">
                    <a16:creationId xmlns:a16="http://schemas.microsoft.com/office/drawing/2014/main" id="{9928F9A3-D252-4C81-BABE-2441EBCA5553}"/>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2">
                <a:extLst>
                  <a:ext uri="{FF2B5EF4-FFF2-40B4-BE49-F238E27FC236}">
                    <a16:creationId xmlns:a16="http://schemas.microsoft.com/office/drawing/2014/main" id="{F57CFECC-B4AE-48B4-A350-93952ED9EC47}"/>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3">
                <a:extLst>
                  <a:ext uri="{FF2B5EF4-FFF2-40B4-BE49-F238E27FC236}">
                    <a16:creationId xmlns:a16="http://schemas.microsoft.com/office/drawing/2014/main" id="{9FAFEC81-ABB6-4EC4-9D85-9826B237980E}"/>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Freeform 34">
              <a:extLst>
                <a:ext uri="{FF2B5EF4-FFF2-40B4-BE49-F238E27FC236}">
                  <a16:creationId xmlns:a16="http://schemas.microsoft.com/office/drawing/2014/main" id="{DBDFE334-6299-4A00-9068-2E49EE089BFB}"/>
                </a:ext>
              </a:extLst>
            </p:cNvPr>
            <p:cNvSpPr>
              <a:spLocks noEditPoints="1"/>
            </p:cNvSpPr>
            <p:nvPr/>
          </p:nvSpPr>
          <p:spPr bwMode="auto">
            <a:xfrm>
              <a:off x="4873625" y="4746625"/>
              <a:ext cx="1730375" cy="284162"/>
            </a:xfrm>
            <a:custGeom>
              <a:avLst/>
              <a:gdLst>
                <a:gd name="T0" fmla="*/ 1399 w 1571"/>
                <a:gd name="T1" fmla="*/ 170 h 257"/>
                <a:gd name="T2" fmla="*/ 1505 w 1571"/>
                <a:gd name="T3" fmla="*/ 170 h 257"/>
                <a:gd name="T4" fmla="*/ 1471 w 1571"/>
                <a:gd name="T5" fmla="*/ 4 h 257"/>
                <a:gd name="T6" fmla="*/ 1333 w 1571"/>
                <a:gd name="T7" fmla="*/ 252 h 257"/>
                <a:gd name="T8" fmla="*/ 1390 w 1571"/>
                <a:gd name="T9" fmla="*/ 197 h 257"/>
                <a:gd name="T10" fmla="*/ 1536 w 1571"/>
                <a:gd name="T11" fmla="*/ 252 h 257"/>
                <a:gd name="T12" fmla="*/ 1208 w 1571"/>
                <a:gd name="T13" fmla="*/ 252 h 257"/>
                <a:gd name="T14" fmla="*/ 1287 w 1571"/>
                <a:gd name="T15" fmla="*/ 31 h 257"/>
                <a:gd name="T16" fmla="*/ 1098 w 1571"/>
                <a:gd name="T17" fmla="*/ 4 h 257"/>
                <a:gd name="T18" fmla="*/ 1177 w 1571"/>
                <a:gd name="T19" fmla="*/ 31 h 257"/>
                <a:gd name="T20" fmla="*/ 1208 w 1571"/>
                <a:gd name="T21" fmla="*/ 252 h 257"/>
                <a:gd name="T22" fmla="*/ 867 w 1571"/>
                <a:gd name="T23" fmla="*/ 126 h 257"/>
                <a:gd name="T24" fmla="*/ 932 w 1571"/>
                <a:gd name="T25" fmla="*/ 31 h 257"/>
                <a:gd name="T26" fmla="*/ 932 w 1571"/>
                <a:gd name="T27" fmla="*/ 126 h 257"/>
                <a:gd name="T28" fmla="*/ 950 w 1571"/>
                <a:gd name="T29" fmla="*/ 151 h 257"/>
                <a:gd name="T30" fmla="*/ 936 w 1571"/>
                <a:gd name="T31" fmla="*/ 4 h 257"/>
                <a:gd name="T32" fmla="*/ 836 w 1571"/>
                <a:gd name="T33" fmla="*/ 252 h 257"/>
                <a:gd name="T34" fmla="*/ 867 w 1571"/>
                <a:gd name="T35" fmla="*/ 154 h 257"/>
                <a:gd name="T36" fmla="*/ 980 w 1571"/>
                <a:gd name="T37" fmla="*/ 252 h 257"/>
                <a:gd name="T38" fmla="*/ 681 w 1571"/>
                <a:gd name="T39" fmla="*/ 170 h 257"/>
                <a:gd name="T40" fmla="*/ 629 w 1571"/>
                <a:gd name="T41" fmla="*/ 36 h 257"/>
                <a:gd name="T42" fmla="*/ 748 w 1571"/>
                <a:gd name="T43" fmla="*/ 252 h 257"/>
                <a:gd name="T44" fmla="*/ 609 w 1571"/>
                <a:gd name="T45" fmla="*/ 4 h 257"/>
                <a:gd name="T46" fmla="*/ 545 w 1571"/>
                <a:gd name="T47" fmla="*/ 252 h 257"/>
                <a:gd name="T48" fmla="*/ 691 w 1571"/>
                <a:gd name="T49" fmla="*/ 197 h 257"/>
                <a:gd name="T50" fmla="*/ 748 w 1571"/>
                <a:gd name="T51" fmla="*/ 252 h 257"/>
                <a:gd name="T52" fmla="*/ 320 w 1571"/>
                <a:gd name="T53" fmla="*/ 126 h 257"/>
                <a:gd name="T54" fmla="*/ 385 w 1571"/>
                <a:gd name="T55" fmla="*/ 31 h 257"/>
                <a:gd name="T56" fmla="*/ 385 w 1571"/>
                <a:gd name="T57" fmla="*/ 126 h 257"/>
                <a:gd name="T58" fmla="*/ 320 w 1571"/>
                <a:gd name="T59" fmla="*/ 154 h 257"/>
                <a:gd name="T60" fmla="*/ 467 w 1571"/>
                <a:gd name="T61" fmla="*/ 79 h 257"/>
                <a:gd name="T62" fmla="*/ 289 w 1571"/>
                <a:gd name="T63" fmla="*/ 4 h 257"/>
                <a:gd name="T64" fmla="*/ 320 w 1571"/>
                <a:gd name="T65" fmla="*/ 252 h 257"/>
                <a:gd name="T66" fmla="*/ 187 w 1571"/>
                <a:gd name="T67" fmla="*/ 184 h 257"/>
                <a:gd name="T68" fmla="*/ 91 w 1571"/>
                <a:gd name="T69" fmla="*/ 28 h 257"/>
                <a:gd name="T70" fmla="*/ 181 w 1571"/>
                <a:gd name="T71" fmla="*/ 35 h 257"/>
                <a:gd name="T72" fmla="*/ 8 w 1571"/>
                <a:gd name="T73" fmla="*/ 69 h 257"/>
                <a:gd name="T74" fmla="*/ 97 w 1571"/>
                <a:gd name="T75" fmla="*/ 229 h 257"/>
                <a:gd name="T76" fmla="*/ 0 w 1571"/>
                <a:gd name="T77" fmla="*/ 21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7">
                  <a:moveTo>
                    <a:pt x="1505" y="170"/>
                  </a:moveTo>
                  <a:cubicBezTo>
                    <a:pt x="1399" y="170"/>
                    <a:pt x="1399" y="170"/>
                    <a:pt x="1399" y="170"/>
                  </a:cubicBezTo>
                  <a:cubicBezTo>
                    <a:pt x="1452" y="36"/>
                    <a:pt x="1452" y="36"/>
                    <a:pt x="1452" y="36"/>
                  </a:cubicBezTo>
                  <a:lnTo>
                    <a:pt x="1505" y="170"/>
                  </a:lnTo>
                  <a:close/>
                  <a:moveTo>
                    <a:pt x="1571" y="252"/>
                  </a:moveTo>
                  <a:cubicBezTo>
                    <a:pt x="1471" y="4"/>
                    <a:pt x="1471" y="4"/>
                    <a:pt x="1471" y="4"/>
                  </a:cubicBezTo>
                  <a:cubicBezTo>
                    <a:pt x="1433" y="4"/>
                    <a:pt x="1433" y="4"/>
                    <a:pt x="1433" y="4"/>
                  </a:cubicBezTo>
                  <a:cubicBezTo>
                    <a:pt x="1333" y="252"/>
                    <a:pt x="1333" y="252"/>
                    <a:pt x="1333" y="252"/>
                  </a:cubicBezTo>
                  <a:cubicBezTo>
                    <a:pt x="1368" y="252"/>
                    <a:pt x="1368" y="252"/>
                    <a:pt x="1368" y="252"/>
                  </a:cubicBezTo>
                  <a:cubicBezTo>
                    <a:pt x="1390" y="197"/>
                    <a:pt x="1390" y="197"/>
                    <a:pt x="1390" y="197"/>
                  </a:cubicBezTo>
                  <a:cubicBezTo>
                    <a:pt x="1514" y="197"/>
                    <a:pt x="1514" y="197"/>
                    <a:pt x="1514" y="197"/>
                  </a:cubicBezTo>
                  <a:cubicBezTo>
                    <a:pt x="1536" y="252"/>
                    <a:pt x="1536" y="252"/>
                    <a:pt x="1536" y="252"/>
                  </a:cubicBezTo>
                  <a:lnTo>
                    <a:pt x="1571" y="252"/>
                  </a:lnTo>
                  <a:close/>
                  <a:moveTo>
                    <a:pt x="1208" y="252"/>
                  </a:moveTo>
                  <a:cubicBezTo>
                    <a:pt x="1208" y="31"/>
                    <a:pt x="1208" y="31"/>
                    <a:pt x="1208" y="31"/>
                  </a:cubicBezTo>
                  <a:cubicBezTo>
                    <a:pt x="1287" y="31"/>
                    <a:pt x="1287" y="31"/>
                    <a:pt x="1287" y="31"/>
                  </a:cubicBezTo>
                  <a:cubicBezTo>
                    <a:pt x="1287" y="4"/>
                    <a:pt x="1287" y="4"/>
                    <a:pt x="1287" y="4"/>
                  </a:cubicBezTo>
                  <a:cubicBezTo>
                    <a:pt x="1098" y="4"/>
                    <a:pt x="1098" y="4"/>
                    <a:pt x="1098" y="4"/>
                  </a:cubicBezTo>
                  <a:cubicBezTo>
                    <a:pt x="1098" y="31"/>
                    <a:pt x="1098" y="31"/>
                    <a:pt x="1098" y="31"/>
                  </a:cubicBezTo>
                  <a:cubicBezTo>
                    <a:pt x="1177" y="31"/>
                    <a:pt x="1177" y="31"/>
                    <a:pt x="1177" y="31"/>
                  </a:cubicBezTo>
                  <a:cubicBezTo>
                    <a:pt x="1177" y="252"/>
                    <a:pt x="1177" y="252"/>
                    <a:pt x="1177" y="252"/>
                  </a:cubicBezTo>
                  <a:lnTo>
                    <a:pt x="1208" y="252"/>
                  </a:lnTo>
                  <a:close/>
                  <a:moveTo>
                    <a:pt x="932" y="126"/>
                  </a:moveTo>
                  <a:cubicBezTo>
                    <a:pt x="867" y="126"/>
                    <a:pt x="867" y="126"/>
                    <a:pt x="867" y="126"/>
                  </a:cubicBezTo>
                  <a:cubicBezTo>
                    <a:pt x="867" y="31"/>
                    <a:pt x="867" y="31"/>
                    <a:pt x="867" y="31"/>
                  </a:cubicBezTo>
                  <a:cubicBezTo>
                    <a:pt x="932" y="31"/>
                    <a:pt x="932" y="31"/>
                    <a:pt x="932" y="31"/>
                  </a:cubicBezTo>
                  <a:cubicBezTo>
                    <a:pt x="962" y="31"/>
                    <a:pt x="982" y="51"/>
                    <a:pt x="982" y="79"/>
                  </a:cubicBezTo>
                  <a:cubicBezTo>
                    <a:pt x="982" y="107"/>
                    <a:pt x="962" y="126"/>
                    <a:pt x="932" y="126"/>
                  </a:cubicBezTo>
                  <a:close/>
                  <a:moveTo>
                    <a:pt x="1017" y="252"/>
                  </a:moveTo>
                  <a:cubicBezTo>
                    <a:pt x="950" y="151"/>
                    <a:pt x="950" y="151"/>
                    <a:pt x="950" y="151"/>
                  </a:cubicBezTo>
                  <a:cubicBezTo>
                    <a:pt x="984" y="148"/>
                    <a:pt x="1014" y="123"/>
                    <a:pt x="1014" y="79"/>
                  </a:cubicBezTo>
                  <a:cubicBezTo>
                    <a:pt x="1014" y="33"/>
                    <a:pt x="982" y="4"/>
                    <a:pt x="936" y="4"/>
                  </a:cubicBezTo>
                  <a:cubicBezTo>
                    <a:pt x="836" y="4"/>
                    <a:pt x="836" y="4"/>
                    <a:pt x="836" y="4"/>
                  </a:cubicBezTo>
                  <a:cubicBezTo>
                    <a:pt x="836" y="252"/>
                    <a:pt x="836" y="252"/>
                    <a:pt x="836" y="252"/>
                  </a:cubicBezTo>
                  <a:cubicBezTo>
                    <a:pt x="867" y="252"/>
                    <a:pt x="867" y="252"/>
                    <a:pt x="867" y="252"/>
                  </a:cubicBezTo>
                  <a:cubicBezTo>
                    <a:pt x="867" y="154"/>
                    <a:pt x="867" y="154"/>
                    <a:pt x="867" y="154"/>
                  </a:cubicBezTo>
                  <a:cubicBezTo>
                    <a:pt x="917" y="154"/>
                    <a:pt x="917" y="154"/>
                    <a:pt x="917" y="154"/>
                  </a:cubicBezTo>
                  <a:cubicBezTo>
                    <a:pt x="980" y="252"/>
                    <a:pt x="980" y="252"/>
                    <a:pt x="980" y="252"/>
                  </a:cubicBezTo>
                  <a:lnTo>
                    <a:pt x="1017" y="252"/>
                  </a:lnTo>
                  <a:close/>
                  <a:moveTo>
                    <a:pt x="681" y="170"/>
                  </a:moveTo>
                  <a:cubicBezTo>
                    <a:pt x="576" y="170"/>
                    <a:pt x="576" y="170"/>
                    <a:pt x="576" y="170"/>
                  </a:cubicBezTo>
                  <a:cubicBezTo>
                    <a:pt x="629" y="36"/>
                    <a:pt x="629" y="36"/>
                    <a:pt x="629" y="36"/>
                  </a:cubicBezTo>
                  <a:lnTo>
                    <a:pt x="681" y="170"/>
                  </a:lnTo>
                  <a:close/>
                  <a:moveTo>
                    <a:pt x="748" y="252"/>
                  </a:moveTo>
                  <a:cubicBezTo>
                    <a:pt x="648" y="4"/>
                    <a:pt x="648" y="4"/>
                    <a:pt x="648" y="4"/>
                  </a:cubicBezTo>
                  <a:cubicBezTo>
                    <a:pt x="609" y="4"/>
                    <a:pt x="609" y="4"/>
                    <a:pt x="609" y="4"/>
                  </a:cubicBezTo>
                  <a:cubicBezTo>
                    <a:pt x="509" y="252"/>
                    <a:pt x="509" y="252"/>
                    <a:pt x="509" y="252"/>
                  </a:cubicBezTo>
                  <a:cubicBezTo>
                    <a:pt x="545" y="252"/>
                    <a:pt x="545" y="252"/>
                    <a:pt x="545" y="252"/>
                  </a:cubicBezTo>
                  <a:cubicBezTo>
                    <a:pt x="567" y="197"/>
                    <a:pt x="567" y="197"/>
                    <a:pt x="567" y="197"/>
                  </a:cubicBezTo>
                  <a:cubicBezTo>
                    <a:pt x="691" y="197"/>
                    <a:pt x="691" y="197"/>
                    <a:pt x="691" y="197"/>
                  </a:cubicBezTo>
                  <a:cubicBezTo>
                    <a:pt x="713" y="252"/>
                    <a:pt x="713" y="252"/>
                    <a:pt x="713" y="252"/>
                  </a:cubicBezTo>
                  <a:lnTo>
                    <a:pt x="748" y="252"/>
                  </a:lnTo>
                  <a:close/>
                  <a:moveTo>
                    <a:pt x="385" y="126"/>
                  </a:moveTo>
                  <a:cubicBezTo>
                    <a:pt x="320" y="126"/>
                    <a:pt x="320" y="126"/>
                    <a:pt x="320" y="126"/>
                  </a:cubicBezTo>
                  <a:cubicBezTo>
                    <a:pt x="320" y="31"/>
                    <a:pt x="320" y="31"/>
                    <a:pt x="320" y="31"/>
                  </a:cubicBezTo>
                  <a:cubicBezTo>
                    <a:pt x="385" y="31"/>
                    <a:pt x="385" y="31"/>
                    <a:pt x="385" y="31"/>
                  </a:cubicBezTo>
                  <a:cubicBezTo>
                    <a:pt x="415" y="31"/>
                    <a:pt x="435" y="51"/>
                    <a:pt x="435" y="79"/>
                  </a:cubicBezTo>
                  <a:cubicBezTo>
                    <a:pt x="435" y="107"/>
                    <a:pt x="415" y="126"/>
                    <a:pt x="385" y="126"/>
                  </a:cubicBezTo>
                  <a:close/>
                  <a:moveTo>
                    <a:pt x="320" y="252"/>
                  </a:moveTo>
                  <a:cubicBezTo>
                    <a:pt x="320" y="154"/>
                    <a:pt x="320" y="154"/>
                    <a:pt x="320" y="154"/>
                  </a:cubicBezTo>
                  <a:cubicBezTo>
                    <a:pt x="389" y="154"/>
                    <a:pt x="389" y="154"/>
                    <a:pt x="389" y="154"/>
                  </a:cubicBezTo>
                  <a:cubicBezTo>
                    <a:pt x="438" y="154"/>
                    <a:pt x="467" y="119"/>
                    <a:pt x="467" y="79"/>
                  </a:cubicBezTo>
                  <a:cubicBezTo>
                    <a:pt x="467" y="38"/>
                    <a:pt x="439" y="4"/>
                    <a:pt x="389" y="4"/>
                  </a:cubicBezTo>
                  <a:cubicBezTo>
                    <a:pt x="289" y="4"/>
                    <a:pt x="289" y="4"/>
                    <a:pt x="289" y="4"/>
                  </a:cubicBezTo>
                  <a:cubicBezTo>
                    <a:pt x="289" y="252"/>
                    <a:pt x="289" y="252"/>
                    <a:pt x="289" y="252"/>
                  </a:cubicBezTo>
                  <a:lnTo>
                    <a:pt x="320" y="252"/>
                  </a:lnTo>
                  <a:close/>
                  <a:moveTo>
                    <a:pt x="95" y="257"/>
                  </a:moveTo>
                  <a:cubicBezTo>
                    <a:pt x="162" y="257"/>
                    <a:pt x="187" y="220"/>
                    <a:pt x="187" y="184"/>
                  </a:cubicBezTo>
                  <a:cubicBezTo>
                    <a:pt x="187" y="91"/>
                    <a:pt x="40" y="123"/>
                    <a:pt x="40" y="67"/>
                  </a:cubicBezTo>
                  <a:cubicBezTo>
                    <a:pt x="40" y="44"/>
                    <a:pt x="61" y="28"/>
                    <a:pt x="91" y="28"/>
                  </a:cubicBezTo>
                  <a:cubicBezTo>
                    <a:pt x="118" y="28"/>
                    <a:pt x="144" y="37"/>
                    <a:pt x="163" y="57"/>
                  </a:cubicBezTo>
                  <a:cubicBezTo>
                    <a:pt x="181" y="35"/>
                    <a:pt x="181" y="35"/>
                    <a:pt x="181" y="35"/>
                  </a:cubicBezTo>
                  <a:cubicBezTo>
                    <a:pt x="161" y="13"/>
                    <a:pt x="131" y="0"/>
                    <a:pt x="93" y="0"/>
                  </a:cubicBezTo>
                  <a:cubicBezTo>
                    <a:pt x="44" y="0"/>
                    <a:pt x="8" y="28"/>
                    <a:pt x="8" y="69"/>
                  </a:cubicBezTo>
                  <a:cubicBezTo>
                    <a:pt x="8" y="158"/>
                    <a:pt x="155" y="122"/>
                    <a:pt x="155" y="186"/>
                  </a:cubicBezTo>
                  <a:cubicBezTo>
                    <a:pt x="155" y="205"/>
                    <a:pt x="141" y="229"/>
                    <a:pt x="97" y="229"/>
                  </a:cubicBezTo>
                  <a:cubicBezTo>
                    <a:pt x="61" y="229"/>
                    <a:pt x="35" y="212"/>
                    <a:pt x="18" y="194"/>
                  </a:cubicBezTo>
                  <a:cubicBezTo>
                    <a:pt x="0" y="217"/>
                    <a:pt x="0" y="217"/>
                    <a:pt x="0" y="217"/>
                  </a:cubicBezTo>
                  <a:cubicBezTo>
                    <a:pt x="20" y="240"/>
                    <a:pt x="52" y="257"/>
                    <a:pt x="95" y="2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Title 1">
            <a:extLst>
              <a:ext uri="{FF2B5EF4-FFF2-40B4-BE49-F238E27FC236}">
                <a16:creationId xmlns:a16="http://schemas.microsoft.com/office/drawing/2014/main" id="{CB6EFD8C-F6DA-4D3D-BB60-6C6DF9C7D2AF}"/>
              </a:ext>
            </a:extLst>
          </p:cNvPr>
          <p:cNvSpPr>
            <a:spLocks noGrp="1"/>
          </p:cNvSpPr>
          <p:nvPr>
            <p:ph type="title"/>
          </p:nvPr>
        </p:nvSpPr>
        <p:spPr>
          <a:xfrm>
            <a:off x="6253391" y="2388689"/>
            <a:ext cx="5503180" cy="1089528"/>
          </a:xfrm>
        </p:spPr>
        <p:txBody>
          <a:bodyPr anchor="b"/>
          <a:lstStyle>
            <a:lvl1pPr>
              <a:defRPr sz="4000" b="0">
                <a:solidFill>
                  <a:schemeClr val="accent1"/>
                </a:solidFill>
                <a:latin typeface="+mn-lt"/>
              </a:defRPr>
            </a:lvl1pPr>
          </a:lstStyle>
          <a:p>
            <a:r>
              <a:rPr lang="en-US" dirty="0"/>
              <a:t>Click to edit Master title style</a:t>
            </a:r>
          </a:p>
        </p:txBody>
      </p:sp>
      <p:sp>
        <p:nvSpPr>
          <p:cNvPr id="32" name="Text Placeholder 31">
            <a:extLst>
              <a:ext uri="{FF2B5EF4-FFF2-40B4-BE49-F238E27FC236}">
                <a16:creationId xmlns:a16="http://schemas.microsoft.com/office/drawing/2014/main" id="{76260023-D145-4ACF-A998-C4B169D6A0E3}"/>
              </a:ext>
            </a:extLst>
          </p:cNvPr>
          <p:cNvSpPr>
            <a:spLocks noGrp="1"/>
          </p:cNvSpPr>
          <p:nvPr>
            <p:ph type="body" sz="quarter" idx="10"/>
          </p:nvPr>
        </p:nvSpPr>
        <p:spPr>
          <a:xfrm>
            <a:off x="6253389" y="3551159"/>
            <a:ext cx="5503179" cy="817358"/>
          </a:xfrm>
        </p:spPr>
        <p:txBody>
          <a:bodyPr>
            <a:normAutofit/>
          </a:bodyPr>
          <a:lstStyle>
            <a:lvl1pPr marL="0" indent="0">
              <a:buNone/>
              <a:defRPr sz="1800"/>
            </a:lvl1pPr>
            <a:lvl2pPr>
              <a:defRPr sz="1800"/>
            </a:lvl2pPr>
          </a:lstStyle>
          <a:p>
            <a:pPr lvl="0"/>
            <a:r>
              <a:rPr lang="en-US" dirty="0"/>
              <a:t>Edit Master text styles</a:t>
            </a:r>
          </a:p>
        </p:txBody>
      </p:sp>
      <p:grpSp>
        <p:nvGrpSpPr>
          <p:cNvPr id="27" name="Group 26">
            <a:extLst>
              <a:ext uri="{FF2B5EF4-FFF2-40B4-BE49-F238E27FC236}">
                <a16:creationId xmlns:a16="http://schemas.microsoft.com/office/drawing/2014/main" id="{07EF4A5E-964F-443E-BE2B-139C1B066BF2}"/>
              </a:ext>
            </a:extLst>
          </p:cNvPr>
          <p:cNvGrpSpPr/>
          <p:nvPr/>
        </p:nvGrpSpPr>
        <p:grpSpPr>
          <a:xfrm>
            <a:off x="1" y="1588"/>
            <a:ext cx="5521325" cy="6856412"/>
            <a:chOff x="1" y="1588"/>
            <a:chExt cx="5521325" cy="6856412"/>
          </a:xfrm>
        </p:grpSpPr>
        <p:sp>
          <p:nvSpPr>
            <p:cNvPr id="28" name="Freeform 5">
              <a:extLst>
                <a:ext uri="{FF2B5EF4-FFF2-40B4-BE49-F238E27FC236}">
                  <a16:creationId xmlns:a16="http://schemas.microsoft.com/office/drawing/2014/main" id="{8895497D-19E3-40A9-853D-1F80BCEE1ACB}"/>
                </a:ext>
              </a:extLst>
            </p:cNvPr>
            <p:cNvSpPr>
              <a:spLocks/>
            </p:cNvSpPr>
            <p:nvPr/>
          </p:nvSpPr>
          <p:spPr bwMode="auto">
            <a:xfrm>
              <a:off x="1" y="1588"/>
              <a:ext cx="5172075" cy="6856412"/>
            </a:xfrm>
            <a:custGeom>
              <a:avLst/>
              <a:gdLst>
                <a:gd name="T0" fmla="*/ 0 w 3258"/>
                <a:gd name="T1" fmla="*/ 0 h 4319"/>
                <a:gd name="T2" fmla="*/ 1739 w 3258"/>
                <a:gd name="T3" fmla="*/ 0 h 4319"/>
                <a:gd name="T4" fmla="*/ 2581 w 3258"/>
                <a:gd name="T5" fmla="*/ 699 h 4319"/>
                <a:gd name="T6" fmla="*/ 3258 w 3258"/>
                <a:gd name="T7" fmla="*/ 1888 h 4319"/>
                <a:gd name="T8" fmla="*/ 2643 w 3258"/>
                <a:gd name="T9" fmla="*/ 4319 h 4319"/>
                <a:gd name="T10" fmla="*/ 0 w 3258"/>
                <a:gd name="T11" fmla="*/ 4319 h 4319"/>
                <a:gd name="T12" fmla="*/ 0 w 325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258" h="4319">
                  <a:moveTo>
                    <a:pt x="0" y="0"/>
                  </a:moveTo>
                  <a:lnTo>
                    <a:pt x="1739" y="0"/>
                  </a:lnTo>
                  <a:lnTo>
                    <a:pt x="2581" y="699"/>
                  </a:lnTo>
                  <a:lnTo>
                    <a:pt x="3258" y="1888"/>
                  </a:lnTo>
                  <a:lnTo>
                    <a:pt x="2643" y="4319"/>
                  </a:lnTo>
                  <a:lnTo>
                    <a:pt x="0" y="4319"/>
                  </a:lnTo>
                  <a:lnTo>
                    <a:pt x="0" y="0"/>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837552FA-05A2-4103-BCC0-93B9747FE4D1}"/>
                </a:ext>
              </a:extLst>
            </p:cNvPr>
            <p:cNvSpPr>
              <a:spLocks/>
            </p:cNvSpPr>
            <p:nvPr/>
          </p:nvSpPr>
          <p:spPr bwMode="auto">
            <a:xfrm>
              <a:off x="2760663" y="1588"/>
              <a:ext cx="1336675" cy="1109662"/>
            </a:xfrm>
            <a:custGeom>
              <a:avLst/>
              <a:gdLst>
                <a:gd name="T0" fmla="*/ 842 w 842"/>
                <a:gd name="T1" fmla="*/ 699 h 699"/>
                <a:gd name="T2" fmla="*/ 443 w 842"/>
                <a:gd name="T3" fmla="*/ 0 h 699"/>
                <a:gd name="T4" fmla="*/ 0 w 842"/>
                <a:gd name="T5" fmla="*/ 0 h 699"/>
                <a:gd name="T6" fmla="*/ 842 w 842"/>
                <a:gd name="T7" fmla="*/ 699 h 699"/>
              </a:gdLst>
              <a:ahLst/>
              <a:cxnLst>
                <a:cxn ang="0">
                  <a:pos x="T0" y="T1"/>
                </a:cxn>
                <a:cxn ang="0">
                  <a:pos x="T2" y="T3"/>
                </a:cxn>
                <a:cxn ang="0">
                  <a:pos x="T4" y="T5"/>
                </a:cxn>
                <a:cxn ang="0">
                  <a:pos x="T6" y="T7"/>
                </a:cxn>
              </a:cxnLst>
              <a:rect l="0" t="0" r="r" b="b"/>
              <a:pathLst>
                <a:path w="842" h="699">
                  <a:moveTo>
                    <a:pt x="842" y="699"/>
                  </a:moveTo>
                  <a:lnTo>
                    <a:pt x="443" y="0"/>
                  </a:lnTo>
                  <a:lnTo>
                    <a:pt x="0" y="0"/>
                  </a:lnTo>
                  <a:lnTo>
                    <a:pt x="842" y="699"/>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a:extLst>
                <a:ext uri="{FF2B5EF4-FFF2-40B4-BE49-F238E27FC236}">
                  <a16:creationId xmlns:a16="http://schemas.microsoft.com/office/drawing/2014/main" id="{199AF8FB-048F-4085-990F-98A0D9A7DC6B}"/>
                </a:ext>
              </a:extLst>
            </p:cNvPr>
            <p:cNvSpPr>
              <a:spLocks/>
            </p:cNvSpPr>
            <p:nvPr/>
          </p:nvSpPr>
          <p:spPr bwMode="auto">
            <a:xfrm>
              <a:off x="3449412" y="1588"/>
              <a:ext cx="1306513" cy="1670050"/>
            </a:xfrm>
            <a:custGeom>
              <a:avLst/>
              <a:gdLst>
                <a:gd name="T0" fmla="*/ 0 w 823"/>
                <a:gd name="T1" fmla="*/ 0 h 1052"/>
                <a:gd name="T2" fmla="*/ 399 w 823"/>
                <a:gd name="T3" fmla="*/ 699 h 1052"/>
                <a:gd name="T4" fmla="*/ 823 w 823"/>
                <a:gd name="T5" fmla="*/ 1052 h 1052"/>
                <a:gd name="T6" fmla="*/ 531 w 823"/>
                <a:gd name="T7" fmla="*/ 0 h 1052"/>
                <a:gd name="T8" fmla="*/ 0 w 823"/>
                <a:gd name="T9" fmla="*/ 0 h 1052"/>
              </a:gdLst>
              <a:ahLst/>
              <a:cxnLst>
                <a:cxn ang="0">
                  <a:pos x="T0" y="T1"/>
                </a:cxn>
                <a:cxn ang="0">
                  <a:pos x="T2" y="T3"/>
                </a:cxn>
                <a:cxn ang="0">
                  <a:pos x="T4" y="T5"/>
                </a:cxn>
                <a:cxn ang="0">
                  <a:pos x="T6" y="T7"/>
                </a:cxn>
                <a:cxn ang="0">
                  <a:pos x="T8" y="T9"/>
                </a:cxn>
              </a:cxnLst>
              <a:rect l="0" t="0" r="r" b="b"/>
              <a:pathLst>
                <a:path w="823" h="1052">
                  <a:moveTo>
                    <a:pt x="0" y="0"/>
                  </a:moveTo>
                  <a:lnTo>
                    <a:pt x="399" y="699"/>
                  </a:lnTo>
                  <a:lnTo>
                    <a:pt x="823" y="1052"/>
                  </a:lnTo>
                  <a:lnTo>
                    <a:pt x="531" y="0"/>
                  </a:lnTo>
                  <a:lnTo>
                    <a:pt x="0" y="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a:extLst>
                <a:ext uri="{FF2B5EF4-FFF2-40B4-BE49-F238E27FC236}">
                  <a16:creationId xmlns:a16="http://schemas.microsoft.com/office/drawing/2014/main" id="{08123B19-DB85-4E83-B8CF-342588C3E79B}"/>
                </a:ext>
              </a:extLst>
            </p:cNvPr>
            <p:cNvSpPr>
              <a:spLocks/>
            </p:cNvSpPr>
            <p:nvPr/>
          </p:nvSpPr>
          <p:spPr bwMode="auto">
            <a:xfrm>
              <a:off x="4097338" y="1111250"/>
              <a:ext cx="1009650" cy="1774825"/>
            </a:xfrm>
            <a:custGeom>
              <a:avLst/>
              <a:gdLst>
                <a:gd name="T0" fmla="*/ 424 w 636"/>
                <a:gd name="T1" fmla="*/ 353 h 1118"/>
                <a:gd name="T2" fmla="*/ 0 w 636"/>
                <a:gd name="T3" fmla="*/ 0 h 1118"/>
                <a:gd name="T4" fmla="*/ 636 w 636"/>
                <a:gd name="T5" fmla="*/ 1118 h 1118"/>
                <a:gd name="T6" fmla="*/ 424 w 636"/>
                <a:gd name="T7" fmla="*/ 353 h 1118"/>
              </a:gdLst>
              <a:ahLst/>
              <a:cxnLst>
                <a:cxn ang="0">
                  <a:pos x="T0" y="T1"/>
                </a:cxn>
                <a:cxn ang="0">
                  <a:pos x="T2" y="T3"/>
                </a:cxn>
                <a:cxn ang="0">
                  <a:pos x="T4" y="T5"/>
                </a:cxn>
                <a:cxn ang="0">
                  <a:pos x="T6" y="T7"/>
                </a:cxn>
              </a:cxnLst>
              <a:rect l="0" t="0" r="r" b="b"/>
              <a:pathLst>
                <a:path w="636" h="1118">
                  <a:moveTo>
                    <a:pt x="424" y="353"/>
                  </a:moveTo>
                  <a:lnTo>
                    <a:pt x="0" y="0"/>
                  </a:lnTo>
                  <a:lnTo>
                    <a:pt x="636" y="1118"/>
                  </a:lnTo>
                  <a:lnTo>
                    <a:pt x="424" y="353"/>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a:extLst>
                <a:ext uri="{FF2B5EF4-FFF2-40B4-BE49-F238E27FC236}">
                  <a16:creationId xmlns:a16="http://schemas.microsoft.com/office/drawing/2014/main" id="{FFDF3801-44D3-4149-82C6-85B6A716036F}"/>
                </a:ext>
              </a:extLst>
            </p:cNvPr>
            <p:cNvSpPr>
              <a:spLocks/>
            </p:cNvSpPr>
            <p:nvPr/>
          </p:nvSpPr>
          <p:spPr bwMode="auto">
            <a:xfrm>
              <a:off x="4770438" y="1671638"/>
              <a:ext cx="750888" cy="1327150"/>
            </a:xfrm>
            <a:custGeom>
              <a:avLst/>
              <a:gdLst>
                <a:gd name="T0" fmla="*/ 0 w 473"/>
                <a:gd name="T1" fmla="*/ 0 h 836"/>
                <a:gd name="T2" fmla="*/ 212 w 473"/>
                <a:gd name="T3" fmla="*/ 765 h 836"/>
                <a:gd name="T4" fmla="*/ 253 w 473"/>
                <a:gd name="T5" fmla="*/ 836 h 836"/>
                <a:gd name="T6" fmla="*/ 473 w 473"/>
                <a:gd name="T7" fmla="*/ 393 h 836"/>
                <a:gd name="T8" fmla="*/ 0 w 473"/>
                <a:gd name="T9" fmla="*/ 0 h 836"/>
              </a:gdLst>
              <a:ahLst/>
              <a:cxnLst>
                <a:cxn ang="0">
                  <a:pos x="T0" y="T1"/>
                </a:cxn>
                <a:cxn ang="0">
                  <a:pos x="T2" y="T3"/>
                </a:cxn>
                <a:cxn ang="0">
                  <a:pos x="T4" y="T5"/>
                </a:cxn>
                <a:cxn ang="0">
                  <a:pos x="T6" y="T7"/>
                </a:cxn>
                <a:cxn ang="0">
                  <a:pos x="T8" y="T9"/>
                </a:cxn>
              </a:cxnLst>
              <a:rect l="0" t="0" r="r" b="b"/>
              <a:pathLst>
                <a:path w="473" h="836">
                  <a:moveTo>
                    <a:pt x="0" y="0"/>
                  </a:moveTo>
                  <a:lnTo>
                    <a:pt x="212" y="765"/>
                  </a:lnTo>
                  <a:lnTo>
                    <a:pt x="253" y="836"/>
                  </a:lnTo>
                  <a:lnTo>
                    <a:pt x="473" y="393"/>
                  </a:lnTo>
                  <a:lnTo>
                    <a:pt x="0" y="0"/>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FCC37EF9-D366-4183-A0B0-E82D78530664}"/>
                </a:ext>
              </a:extLst>
            </p:cNvPr>
            <p:cNvSpPr>
              <a:spLocks/>
            </p:cNvSpPr>
            <p:nvPr/>
          </p:nvSpPr>
          <p:spPr bwMode="auto">
            <a:xfrm>
              <a:off x="3949701" y="3040063"/>
              <a:ext cx="1412875" cy="2417762"/>
            </a:xfrm>
            <a:custGeom>
              <a:avLst/>
              <a:gdLst>
                <a:gd name="T0" fmla="*/ 756 w 890"/>
                <a:gd name="T1" fmla="*/ 0 h 1523"/>
                <a:gd name="T2" fmla="*/ 0 w 890"/>
                <a:gd name="T3" fmla="*/ 1523 h 1523"/>
                <a:gd name="T4" fmla="*/ 890 w 890"/>
                <a:gd name="T5" fmla="*/ 477 h 1523"/>
                <a:gd name="T6" fmla="*/ 756 w 890"/>
                <a:gd name="T7" fmla="*/ 0 h 1523"/>
              </a:gdLst>
              <a:ahLst/>
              <a:cxnLst>
                <a:cxn ang="0">
                  <a:pos x="T0" y="T1"/>
                </a:cxn>
                <a:cxn ang="0">
                  <a:pos x="T2" y="T3"/>
                </a:cxn>
                <a:cxn ang="0">
                  <a:pos x="T4" y="T5"/>
                </a:cxn>
                <a:cxn ang="0">
                  <a:pos x="T6" y="T7"/>
                </a:cxn>
              </a:cxnLst>
              <a:rect l="0" t="0" r="r" b="b"/>
              <a:pathLst>
                <a:path w="890" h="1523">
                  <a:moveTo>
                    <a:pt x="756" y="0"/>
                  </a:moveTo>
                  <a:lnTo>
                    <a:pt x="0" y="1523"/>
                  </a:lnTo>
                  <a:lnTo>
                    <a:pt x="890" y="477"/>
                  </a:lnTo>
                  <a:lnTo>
                    <a:pt x="756" y="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595348F9-3222-4871-84C9-F873C5D9A435}"/>
                </a:ext>
              </a:extLst>
            </p:cNvPr>
            <p:cNvSpPr>
              <a:spLocks/>
            </p:cNvSpPr>
            <p:nvPr/>
          </p:nvSpPr>
          <p:spPr bwMode="auto">
            <a:xfrm>
              <a:off x="5139093" y="2998788"/>
              <a:ext cx="371475" cy="798512"/>
            </a:xfrm>
            <a:custGeom>
              <a:avLst/>
              <a:gdLst>
                <a:gd name="T0" fmla="*/ 0 w 234"/>
                <a:gd name="T1" fmla="*/ 26 h 503"/>
                <a:gd name="T2" fmla="*/ 134 w 234"/>
                <a:gd name="T3" fmla="*/ 503 h 503"/>
                <a:gd name="T4" fmla="*/ 234 w 234"/>
                <a:gd name="T5" fmla="*/ 386 h 503"/>
                <a:gd name="T6" fmla="*/ 14 w 234"/>
                <a:gd name="T7" fmla="*/ 0 h 503"/>
                <a:gd name="T8" fmla="*/ 0 w 234"/>
                <a:gd name="T9" fmla="*/ 26 h 503"/>
              </a:gdLst>
              <a:ahLst/>
              <a:cxnLst>
                <a:cxn ang="0">
                  <a:pos x="T0" y="T1"/>
                </a:cxn>
                <a:cxn ang="0">
                  <a:pos x="T2" y="T3"/>
                </a:cxn>
                <a:cxn ang="0">
                  <a:pos x="T4" y="T5"/>
                </a:cxn>
                <a:cxn ang="0">
                  <a:pos x="T6" y="T7"/>
                </a:cxn>
                <a:cxn ang="0">
                  <a:pos x="T8" y="T9"/>
                </a:cxn>
              </a:cxnLst>
              <a:rect l="0" t="0" r="r" b="b"/>
              <a:pathLst>
                <a:path w="234" h="503">
                  <a:moveTo>
                    <a:pt x="0" y="26"/>
                  </a:moveTo>
                  <a:lnTo>
                    <a:pt x="134" y="503"/>
                  </a:lnTo>
                  <a:lnTo>
                    <a:pt x="234" y="386"/>
                  </a:lnTo>
                  <a:lnTo>
                    <a:pt x="14" y="0"/>
                  </a:lnTo>
                  <a:lnTo>
                    <a:pt x="0" y="26"/>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2">
              <a:extLst>
                <a:ext uri="{FF2B5EF4-FFF2-40B4-BE49-F238E27FC236}">
                  <a16:creationId xmlns:a16="http://schemas.microsoft.com/office/drawing/2014/main" id="{5D7AC1E0-3162-4C74-9254-C735F2ECD223}"/>
                </a:ext>
              </a:extLst>
            </p:cNvPr>
            <p:cNvSpPr>
              <a:spLocks/>
            </p:cNvSpPr>
            <p:nvPr/>
          </p:nvSpPr>
          <p:spPr bwMode="auto">
            <a:xfrm>
              <a:off x="3254376" y="3797300"/>
              <a:ext cx="2266950" cy="3060700"/>
            </a:xfrm>
            <a:custGeom>
              <a:avLst/>
              <a:gdLst>
                <a:gd name="T0" fmla="*/ 1328 w 1428"/>
                <a:gd name="T1" fmla="*/ 0 h 1928"/>
                <a:gd name="T2" fmla="*/ 438 w 1428"/>
                <a:gd name="T3" fmla="*/ 1046 h 1928"/>
                <a:gd name="T4" fmla="*/ 0 w 1428"/>
                <a:gd name="T5" fmla="*/ 1928 h 1928"/>
                <a:gd name="T6" fmla="*/ 593 w 1428"/>
                <a:gd name="T7" fmla="*/ 1928 h 1928"/>
                <a:gd name="T8" fmla="*/ 1428 w 1428"/>
                <a:gd name="T9" fmla="*/ 363 h 1928"/>
                <a:gd name="T10" fmla="*/ 1328 w 1428"/>
                <a:gd name="T11" fmla="*/ 0 h 1928"/>
              </a:gdLst>
              <a:ahLst/>
              <a:cxnLst>
                <a:cxn ang="0">
                  <a:pos x="T0" y="T1"/>
                </a:cxn>
                <a:cxn ang="0">
                  <a:pos x="T2" y="T3"/>
                </a:cxn>
                <a:cxn ang="0">
                  <a:pos x="T4" y="T5"/>
                </a:cxn>
                <a:cxn ang="0">
                  <a:pos x="T6" y="T7"/>
                </a:cxn>
                <a:cxn ang="0">
                  <a:pos x="T8" y="T9"/>
                </a:cxn>
                <a:cxn ang="0">
                  <a:pos x="T10" y="T11"/>
                </a:cxn>
              </a:cxnLst>
              <a:rect l="0" t="0" r="r" b="b"/>
              <a:pathLst>
                <a:path w="1428" h="1928">
                  <a:moveTo>
                    <a:pt x="1328" y="0"/>
                  </a:moveTo>
                  <a:lnTo>
                    <a:pt x="438" y="1046"/>
                  </a:lnTo>
                  <a:lnTo>
                    <a:pt x="0" y="1928"/>
                  </a:lnTo>
                  <a:lnTo>
                    <a:pt x="593" y="1928"/>
                  </a:lnTo>
                  <a:lnTo>
                    <a:pt x="1428" y="363"/>
                  </a:lnTo>
                  <a:lnTo>
                    <a:pt x="1328" y="0"/>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3">
              <a:extLst>
                <a:ext uri="{FF2B5EF4-FFF2-40B4-BE49-F238E27FC236}">
                  <a16:creationId xmlns:a16="http://schemas.microsoft.com/office/drawing/2014/main" id="{B5E5F53B-2634-444A-B45A-1CE60BAFF210}"/>
                </a:ext>
              </a:extLst>
            </p:cNvPr>
            <p:cNvSpPr>
              <a:spLocks/>
            </p:cNvSpPr>
            <p:nvPr/>
          </p:nvSpPr>
          <p:spPr bwMode="auto">
            <a:xfrm>
              <a:off x="2760663" y="5457825"/>
              <a:ext cx="1189038" cy="1400175"/>
            </a:xfrm>
            <a:custGeom>
              <a:avLst/>
              <a:gdLst>
                <a:gd name="T0" fmla="*/ 311 w 749"/>
                <a:gd name="T1" fmla="*/ 882 h 882"/>
                <a:gd name="T2" fmla="*/ 749 w 749"/>
                <a:gd name="T3" fmla="*/ 0 h 882"/>
                <a:gd name="T4" fmla="*/ 0 w 749"/>
                <a:gd name="T5" fmla="*/ 882 h 882"/>
                <a:gd name="T6" fmla="*/ 311 w 749"/>
                <a:gd name="T7" fmla="*/ 882 h 882"/>
              </a:gdLst>
              <a:ahLst/>
              <a:cxnLst>
                <a:cxn ang="0">
                  <a:pos x="T0" y="T1"/>
                </a:cxn>
                <a:cxn ang="0">
                  <a:pos x="T2" y="T3"/>
                </a:cxn>
                <a:cxn ang="0">
                  <a:pos x="T4" y="T5"/>
                </a:cxn>
                <a:cxn ang="0">
                  <a:pos x="T6" y="T7"/>
                </a:cxn>
              </a:cxnLst>
              <a:rect l="0" t="0" r="r" b="b"/>
              <a:pathLst>
                <a:path w="749" h="882">
                  <a:moveTo>
                    <a:pt x="311" y="882"/>
                  </a:moveTo>
                  <a:lnTo>
                    <a:pt x="749" y="0"/>
                  </a:lnTo>
                  <a:lnTo>
                    <a:pt x="0" y="882"/>
                  </a:lnTo>
                  <a:lnTo>
                    <a:pt x="311" y="882"/>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a:extLst>
              <a:ext uri="{FF2B5EF4-FFF2-40B4-BE49-F238E27FC236}">
                <a16:creationId xmlns:a16="http://schemas.microsoft.com/office/drawing/2014/main" id="{4ED2D8F9-B666-4ACC-B595-B21F802F7D03}"/>
              </a:ext>
            </a:extLst>
          </p:cNvPr>
          <p:cNvGrpSpPr>
            <a:grpSpLocks/>
          </p:cNvGrpSpPr>
          <p:nvPr/>
        </p:nvGrpSpPr>
        <p:grpSpPr>
          <a:xfrm>
            <a:off x="6253390" y="1378143"/>
            <a:ext cx="2445002" cy="586989"/>
            <a:chOff x="4124325" y="4591050"/>
            <a:chExt cx="2479675" cy="595313"/>
          </a:xfrm>
        </p:grpSpPr>
        <p:grpSp>
          <p:nvGrpSpPr>
            <p:cNvPr id="41" name="Group 40">
              <a:extLst>
                <a:ext uri="{FF2B5EF4-FFF2-40B4-BE49-F238E27FC236}">
                  <a16:creationId xmlns:a16="http://schemas.microsoft.com/office/drawing/2014/main" id="{4D524078-6249-4B15-A7D8-3EFA8EDA0C97}"/>
                </a:ext>
              </a:extLst>
            </p:cNvPr>
            <p:cNvGrpSpPr/>
            <p:nvPr/>
          </p:nvGrpSpPr>
          <p:grpSpPr>
            <a:xfrm>
              <a:off x="4124325" y="4591050"/>
              <a:ext cx="460375" cy="595313"/>
              <a:chOff x="4124325" y="4591050"/>
              <a:chExt cx="460375" cy="595313"/>
            </a:xfrm>
          </p:grpSpPr>
          <p:sp>
            <p:nvSpPr>
              <p:cNvPr id="43" name="Freeform 25">
                <a:extLst>
                  <a:ext uri="{FF2B5EF4-FFF2-40B4-BE49-F238E27FC236}">
                    <a16:creationId xmlns:a16="http://schemas.microsoft.com/office/drawing/2014/main" id="{31F0670D-623B-43F0-8ECD-62EC33F5D22A}"/>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6">
                <a:extLst>
                  <a:ext uri="{FF2B5EF4-FFF2-40B4-BE49-F238E27FC236}">
                    <a16:creationId xmlns:a16="http://schemas.microsoft.com/office/drawing/2014/main" id="{D882C490-23CE-4A81-9663-C93095D06E88}"/>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7">
                <a:extLst>
                  <a:ext uri="{FF2B5EF4-FFF2-40B4-BE49-F238E27FC236}">
                    <a16:creationId xmlns:a16="http://schemas.microsoft.com/office/drawing/2014/main" id="{77DC2465-B8AD-48DB-BB26-8D699DFA7301}"/>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8">
                <a:extLst>
                  <a:ext uri="{FF2B5EF4-FFF2-40B4-BE49-F238E27FC236}">
                    <a16:creationId xmlns:a16="http://schemas.microsoft.com/office/drawing/2014/main" id="{9B0AF956-0F0A-4149-B756-7796EA961A62}"/>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
                <a:extLst>
                  <a:ext uri="{FF2B5EF4-FFF2-40B4-BE49-F238E27FC236}">
                    <a16:creationId xmlns:a16="http://schemas.microsoft.com/office/drawing/2014/main" id="{AB135C31-7E42-4D6E-B085-D420E917D29B}"/>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0">
                <a:extLst>
                  <a:ext uri="{FF2B5EF4-FFF2-40B4-BE49-F238E27FC236}">
                    <a16:creationId xmlns:a16="http://schemas.microsoft.com/office/drawing/2014/main" id="{DA36A413-CCAA-4F3E-A16B-B21FAE77FBF5}"/>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1">
                <a:extLst>
                  <a:ext uri="{FF2B5EF4-FFF2-40B4-BE49-F238E27FC236}">
                    <a16:creationId xmlns:a16="http://schemas.microsoft.com/office/drawing/2014/main" id="{7571954E-F14A-4362-B792-524004422E48}"/>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2">
                <a:extLst>
                  <a:ext uri="{FF2B5EF4-FFF2-40B4-BE49-F238E27FC236}">
                    <a16:creationId xmlns:a16="http://schemas.microsoft.com/office/drawing/2014/main" id="{BE350888-EF92-424F-96D0-A7D76A7344F9}"/>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3">
                <a:extLst>
                  <a:ext uri="{FF2B5EF4-FFF2-40B4-BE49-F238E27FC236}">
                    <a16:creationId xmlns:a16="http://schemas.microsoft.com/office/drawing/2014/main" id="{10C677DF-061D-4820-8229-2A35B3553A2E}"/>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Freeform 34">
              <a:extLst>
                <a:ext uri="{FF2B5EF4-FFF2-40B4-BE49-F238E27FC236}">
                  <a16:creationId xmlns:a16="http://schemas.microsoft.com/office/drawing/2014/main" id="{1BA7535D-B7A1-4B9F-916E-1D17952064D5}"/>
                </a:ext>
              </a:extLst>
            </p:cNvPr>
            <p:cNvSpPr>
              <a:spLocks noEditPoints="1"/>
            </p:cNvSpPr>
            <p:nvPr/>
          </p:nvSpPr>
          <p:spPr bwMode="auto">
            <a:xfrm>
              <a:off x="4873625" y="4746625"/>
              <a:ext cx="1730375" cy="284162"/>
            </a:xfrm>
            <a:custGeom>
              <a:avLst/>
              <a:gdLst>
                <a:gd name="T0" fmla="*/ 1399 w 1571"/>
                <a:gd name="T1" fmla="*/ 170 h 257"/>
                <a:gd name="T2" fmla="*/ 1505 w 1571"/>
                <a:gd name="T3" fmla="*/ 170 h 257"/>
                <a:gd name="T4" fmla="*/ 1471 w 1571"/>
                <a:gd name="T5" fmla="*/ 4 h 257"/>
                <a:gd name="T6" fmla="*/ 1333 w 1571"/>
                <a:gd name="T7" fmla="*/ 252 h 257"/>
                <a:gd name="T8" fmla="*/ 1390 w 1571"/>
                <a:gd name="T9" fmla="*/ 197 h 257"/>
                <a:gd name="T10" fmla="*/ 1536 w 1571"/>
                <a:gd name="T11" fmla="*/ 252 h 257"/>
                <a:gd name="T12" fmla="*/ 1208 w 1571"/>
                <a:gd name="T13" fmla="*/ 252 h 257"/>
                <a:gd name="T14" fmla="*/ 1287 w 1571"/>
                <a:gd name="T15" fmla="*/ 31 h 257"/>
                <a:gd name="T16" fmla="*/ 1098 w 1571"/>
                <a:gd name="T17" fmla="*/ 4 h 257"/>
                <a:gd name="T18" fmla="*/ 1177 w 1571"/>
                <a:gd name="T19" fmla="*/ 31 h 257"/>
                <a:gd name="T20" fmla="*/ 1208 w 1571"/>
                <a:gd name="T21" fmla="*/ 252 h 257"/>
                <a:gd name="T22" fmla="*/ 867 w 1571"/>
                <a:gd name="T23" fmla="*/ 126 h 257"/>
                <a:gd name="T24" fmla="*/ 932 w 1571"/>
                <a:gd name="T25" fmla="*/ 31 h 257"/>
                <a:gd name="T26" fmla="*/ 932 w 1571"/>
                <a:gd name="T27" fmla="*/ 126 h 257"/>
                <a:gd name="T28" fmla="*/ 950 w 1571"/>
                <a:gd name="T29" fmla="*/ 151 h 257"/>
                <a:gd name="T30" fmla="*/ 936 w 1571"/>
                <a:gd name="T31" fmla="*/ 4 h 257"/>
                <a:gd name="T32" fmla="*/ 836 w 1571"/>
                <a:gd name="T33" fmla="*/ 252 h 257"/>
                <a:gd name="T34" fmla="*/ 867 w 1571"/>
                <a:gd name="T35" fmla="*/ 154 h 257"/>
                <a:gd name="T36" fmla="*/ 980 w 1571"/>
                <a:gd name="T37" fmla="*/ 252 h 257"/>
                <a:gd name="T38" fmla="*/ 681 w 1571"/>
                <a:gd name="T39" fmla="*/ 170 h 257"/>
                <a:gd name="T40" fmla="*/ 629 w 1571"/>
                <a:gd name="T41" fmla="*/ 36 h 257"/>
                <a:gd name="T42" fmla="*/ 748 w 1571"/>
                <a:gd name="T43" fmla="*/ 252 h 257"/>
                <a:gd name="T44" fmla="*/ 609 w 1571"/>
                <a:gd name="T45" fmla="*/ 4 h 257"/>
                <a:gd name="T46" fmla="*/ 545 w 1571"/>
                <a:gd name="T47" fmla="*/ 252 h 257"/>
                <a:gd name="T48" fmla="*/ 691 w 1571"/>
                <a:gd name="T49" fmla="*/ 197 h 257"/>
                <a:gd name="T50" fmla="*/ 748 w 1571"/>
                <a:gd name="T51" fmla="*/ 252 h 257"/>
                <a:gd name="T52" fmla="*/ 320 w 1571"/>
                <a:gd name="T53" fmla="*/ 126 h 257"/>
                <a:gd name="T54" fmla="*/ 385 w 1571"/>
                <a:gd name="T55" fmla="*/ 31 h 257"/>
                <a:gd name="T56" fmla="*/ 385 w 1571"/>
                <a:gd name="T57" fmla="*/ 126 h 257"/>
                <a:gd name="T58" fmla="*/ 320 w 1571"/>
                <a:gd name="T59" fmla="*/ 154 h 257"/>
                <a:gd name="T60" fmla="*/ 467 w 1571"/>
                <a:gd name="T61" fmla="*/ 79 h 257"/>
                <a:gd name="T62" fmla="*/ 289 w 1571"/>
                <a:gd name="T63" fmla="*/ 4 h 257"/>
                <a:gd name="T64" fmla="*/ 320 w 1571"/>
                <a:gd name="T65" fmla="*/ 252 h 257"/>
                <a:gd name="T66" fmla="*/ 187 w 1571"/>
                <a:gd name="T67" fmla="*/ 184 h 257"/>
                <a:gd name="T68" fmla="*/ 91 w 1571"/>
                <a:gd name="T69" fmla="*/ 28 h 257"/>
                <a:gd name="T70" fmla="*/ 181 w 1571"/>
                <a:gd name="T71" fmla="*/ 35 h 257"/>
                <a:gd name="T72" fmla="*/ 8 w 1571"/>
                <a:gd name="T73" fmla="*/ 69 h 257"/>
                <a:gd name="T74" fmla="*/ 97 w 1571"/>
                <a:gd name="T75" fmla="*/ 229 h 257"/>
                <a:gd name="T76" fmla="*/ 0 w 1571"/>
                <a:gd name="T77" fmla="*/ 21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7">
                  <a:moveTo>
                    <a:pt x="1505" y="170"/>
                  </a:moveTo>
                  <a:cubicBezTo>
                    <a:pt x="1399" y="170"/>
                    <a:pt x="1399" y="170"/>
                    <a:pt x="1399" y="170"/>
                  </a:cubicBezTo>
                  <a:cubicBezTo>
                    <a:pt x="1452" y="36"/>
                    <a:pt x="1452" y="36"/>
                    <a:pt x="1452" y="36"/>
                  </a:cubicBezTo>
                  <a:lnTo>
                    <a:pt x="1505" y="170"/>
                  </a:lnTo>
                  <a:close/>
                  <a:moveTo>
                    <a:pt x="1571" y="252"/>
                  </a:moveTo>
                  <a:cubicBezTo>
                    <a:pt x="1471" y="4"/>
                    <a:pt x="1471" y="4"/>
                    <a:pt x="1471" y="4"/>
                  </a:cubicBezTo>
                  <a:cubicBezTo>
                    <a:pt x="1433" y="4"/>
                    <a:pt x="1433" y="4"/>
                    <a:pt x="1433" y="4"/>
                  </a:cubicBezTo>
                  <a:cubicBezTo>
                    <a:pt x="1333" y="252"/>
                    <a:pt x="1333" y="252"/>
                    <a:pt x="1333" y="252"/>
                  </a:cubicBezTo>
                  <a:cubicBezTo>
                    <a:pt x="1368" y="252"/>
                    <a:pt x="1368" y="252"/>
                    <a:pt x="1368" y="252"/>
                  </a:cubicBezTo>
                  <a:cubicBezTo>
                    <a:pt x="1390" y="197"/>
                    <a:pt x="1390" y="197"/>
                    <a:pt x="1390" y="197"/>
                  </a:cubicBezTo>
                  <a:cubicBezTo>
                    <a:pt x="1514" y="197"/>
                    <a:pt x="1514" y="197"/>
                    <a:pt x="1514" y="197"/>
                  </a:cubicBezTo>
                  <a:cubicBezTo>
                    <a:pt x="1536" y="252"/>
                    <a:pt x="1536" y="252"/>
                    <a:pt x="1536" y="252"/>
                  </a:cubicBezTo>
                  <a:lnTo>
                    <a:pt x="1571" y="252"/>
                  </a:lnTo>
                  <a:close/>
                  <a:moveTo>
                    <a:pt x="1208" y="252"/>
                  </a:moveTo>
                  <a:cubicBezTo>
                    <a:pt x="1208" y="31"/>
                    <a:pt x="1208" y="31"/>
                    <a:pt x="1208" y="31"/>
                  </a:cubicBezTo>
                  <a:cubicBezTo>
                    <a:pt x="1287" y="31"/>
                    <a:pt x="1287" y="31"/>
                    <a:pt x="1287" y="31"/>
                  </a:cubicBezTo>
                  <a:cubicBezTo>
                    <a:pt x="1287" y="4"/>
                    <a:pt x="1287" y="4"/>
                    <a:pt x="1287" y="4"/>
                  </a:cubicBezTo>
                  <a:cubicBezTo>
                    <a:pt x="1098" y="4"/>
                    <a:pt x="1098" y="4"/>
                    <a:pt x="1098" y="4"/>
                  </a:cubicBezTo>
                  <a:cubicBezTo>
                    <a:pt x="1098" y="31"/>
                    <a:pt x="1098" y="31"/>
                    <a:pt x="1098" y="31"/>
                  </a:cubicBezTo>
                  <a:cubicBezTo>
                    <a:pt x="1177" y="31"/>
                    <a:pt x="1177" y="31"/>
                    <a:pt x="1177" y="31"/>
                  </a:cubicBezTo>
                  <a:cubicBezTo>
                    <a:pt x="1177" y="252"/>
                    <a:pt x="1177" y="252"/>
                    <a:pt x="1177" y="252"/>
                  </a:cubicBezTo>
                  <a:lnTo>
                    <a:pt x="1208" y="252"/>
                  </a:lnTo>
                  <a:close/>
                  <a:moveTo>
                    <a:pt x="932" y="126"/>
                  </a:moveTo>
                  <a:cubicBezTo>
                    <a:pt x="867" y="126"/>
                    <a:pt x="867" y="126"/>
                    <a:pt x="867" y="126"/>
                  </a:cubicBezTo>
                  <a:cubicBezTo>
                    <a:pt x="867" y="31"/>
                    <a:pt x="867" y="31"/>
                    <a:pt x="867" y="31"/>
                  </a:cubicBezTo>
                  <a:cubicBezTo>
                    <a:pt x="932" y="31"/>
                    <a:pt x="932" y="31"/>
                    <a:pt x="932" y="31"/>
                  </a:cubicBezTo>
                  <a:cubicBezTo>
                    <a:pt x="962" y="31"/>
                    <a:pt x="982" y="51"/>
                    <a:pt x="982" y="79"/>
                  </a:cubicBezTo>
                  <a:cubicBezTo>
                    <a:pt x="982" y="107"/>
                    <a:pt x="962" y="126"/>
                    <a:pt x="932" y="126"/>
                  </a:cubicBezTo>
                  <a:close/>
                  <a:moveTo>
                    <a:pt x="1017" y="252"/>
                  </a:moveTo>
                  <a:cubicBezTo>
                    <a:pt x="950" y="151"/>
                    <a:pt x="950" y="151"/>
                    <a:pt x="950" y="151"/>
                  </a:cubicBezTo>
                  <a:cubicBezTo>
                    <a:pt x="984" y="148"/>
                    <a:pt x="1014" y="123"/>
                    <a:pt x="1014" y="79"/>
                  </a:cubicBezTo>
                  <a:cubicBezTo>
                    <a:pt x="1014" y="33"/>
                    <a:pt x="982" y="4"/>
                    <a:pt x="936" y="4"/>
                  </a:cubicBezTo>
                  <a:cubicBezTo>
                    <a:pt x="836" y="4"/>
                    <a:pt x="836" y="4"/>
                    <a:pt x="836" y="4"/>
                  </a:cubicBezTo>
                  <a:cubicBezTo>
                    <a:pt x="836" y="252"/>
                    <a:pt x="836" y="252"/>
                    <a:pt x="836" y="252"/>
                  </a:cubicBezTo>
                  <a:cubicBezTo>
                    <a:pt x="867" y="252"/>
                    <a:pt x="867" y="252"/>
                    <a:pt x="867" y="252"/>
                  </a:cubicBezTo>
                  <a:cubicBezTo>
                    <a:pt x="867" y="154"/>
                    <a:pt x="867" y="154"/>
                    <a:pt x="867" y="154"/>
                  </a:cubicBezTo>
                  <a:cubicBezTo>
                    <a:pt x="917" y="154"/>
                    <a:pt x="917" y="154"/>
                    <a:pt x="917" y="154"/>
                  </a:cubicBezTo>
                  <a:cubicBezTo>
                    <a:pt x="980" y="252"/>
                    <a:pt x="980" y="252"/>
                    <a:pt x="980" y="252"/>
                  </a:cubicBezTo>
                  <a:lnTo>
                    <a:pt x="1017" y="252"/>
                  </a:lnTo>
                  <a:close/>
                  <a:moveTo>
                    <a:pt x="681" y="170"/>
                  </a:moveTo>
                  <a:cubicBezTo>
                    <a:pt x="576" y="170"/>
                    <a:pt x="576" y="170"/>
                    <a:pt x="576" y="170"/>
                  </a:cubicBezTo>
                  <a:cubicBezTo>
                    <a:pt x="629" y="36"/>
                    <a:pt x="629" y="36"/>
                    <a:pt x="629" y="36"/>
                  </a:cubicBezTo>
                  <a:lnTo>
                    <a:pt x="681" y="170"/>
                  </a:lnTo>
                  <a:close/>
                  <a:moveTo>
                    <a:pt x="748" y="252"/>
                  </a:moveTo>
                  <a:cubicBezTo>
                    <a:pt x="648" y="4"/>
                    <a:pt x="648" y="4"/>
                    <a:pt x="648" y="4"/>
                  </a:cubicBezTo>
                  <a:cubicBezTo>
                    <a:pt x="609" y="4"/>
                    <a:pt x="609" y="4"/>
                    <a:pt x="609" y="4"/>
                  </a:cubicBezTo>
                  <a:cubicBezTo>
                    <a:pt x="509" y="252"/>
                    <a:pt x="509" y="252"/>
                    <a:pt x="509" y="252"/>
                  </a:cubicBezTo>
                  <a:cubicBezTo>
                    <a:pt x="545" y="252"/>
                    <a:pt x="545" y="252"/>
                    <a:pt x="545" y="252"/>
                  </a:cubicBezTo>
                  <a:cubicBezTo>
                    <a:pt x="567" y="197"/>
                    <a:pt x="567" y="197"/>
                    <a:pt x="567" y="197"/>
                  </a:cubicBezTo>
                  <a:cubicBezTo>
                    <a:pt x="691" y="197"/>
                    <a:pt x="691" y="197"/>
                    <a:pt x="691" y="197"/>
                  </a:cubicBezTo>
                  <a:cubicBezTo>
                    <a:pt x="713" y="252"/>
                    <a:pt x="713" y="252"/>
                    <a:pt x="713" y="252"/>
                  </a:cubicBezTo>
                  <a:lnTo>
                    <a:pt x="748" y="252"/>
                  </a:lnTo>
                  <a:close/>
                  <a:moveTo>
                    <a:pt x="385" y="126"/>
                  </a:moveTo>
                  <a:cubicBezTo>
                    <a:pt x="320" y="126"/>
                    <a:pt x="320" y="126"/>
                    <a:pt x="320" y="126"/>
                  </a:cubicBezTo>
                  <a:cubicBezTo>
                    <a:pt x="320" y="31"/>
                    <a:pt x="320" y="31"/>
                    <a:pt x="320" y="31"/>
                  </a:cubicBezTo>
                  <a:cubicBezTo>
                    <a:pt x="385" y="31"/>
                    <a:pt x="385" y="31"/>
                    <a:pt x="385" y="31"/>
                  </a:cubicBezTo>
                  <a:cubicBezTo>
                    <a:pt x="415" y="31"/>
                    <a:pt x="435" y="51"/>
                    <a:pt x="435" y="79"/>
                  </a:cubicBezTo>
                  <a:cubicBezTo>
                    <a:pt x="435" y="107"/>
                    <a:pt x="415" y="126"/>
                    <a:pt x="385" y="126"/>
                  </a:cubicBezTo>
                  <a:close/>
                  <a:moveTo>
                    <a:pt x="320" y="252"/>
                  </a:moveTo>
                  <a:cubicBezTo>
                    <a:pt x="320" y="154"/>
                    <a:pt x="320" y="154"/>
                    <a:pt x="320" y="154"/>
                  </a:cubicBezTo>
                  <a:cubicBezTo>
                    <a:pt x="389" y="154"/>
                    <a:pt x="389" y="154"/>
                    <a:pt x="389" y="154"/>
                  </a:cubicBezTo>
                  <a:cubicBezTo>
                    <a:pt x="438" y="154"/>
                    <a:pt x="467" y="119"/>
                    <a:pt x="467" y="79"/>
                  </a:cubicBezTo>
                  <a:cubicBezTo>
                    <a:pt x="467" y="38"/>
                    <a:pt x="439" y="4"/>
                    <a:pt x="389" y="4"/>
                  </a:cubicBezTo>
                  <a:cubicBezTo>
                    <a:pt x="289" y="4"/>
                    <a:pt x="289" y="4"/>
                    <a:pt x="289" y="4"/>
                  </a:cubicBezTo>
                  <a:cubicBezTo>
                    <a:pt x="289" y="252"/>
                    <a:pt x="289" y="252"/>
                    <a:pt x="289" y="252"/>
                  </a:cubicBezTo>
                  <a:lnTo>
                    <a:pt x="320" y="252"/>
                  </a:lnTo>
                  <a:close/>
                  <a:moveTo>
                    <a:pt x="95" y="257"/>
                  </a:moveTo>
                  <a:cubicBezTo>
                    <a:pt x="162" y="257"/>
                    <a:pt x="187" y="220"/>
                    <a:pt x="187" y="184"/>
                  </a:cubicBezTo>
                  <a:cubicBezTo>
                    <a:pt x="187" y="91"/>
                    <a:pt x="40" y="123"/>
                    <a:pt x="40" y="67"/>
                  </a:cubicBezTo>
                  <a:cubicBezTo>
                    <a:pt x="40" y="44"/>
                    <a:pt x="61" y="28"/>
                    <a:pt x="91" y="28"/>
                  </a:cubicBezTo>
                  <a:cubicBezTo>
                    <a:pt x="118" y="28"/>
                    <a:pt x="144" y="37"/>
                    <a:pt x="163" y="57"/>
                  </a:cubicBezTo>
                  <a:cubicBezTo>
                    <a:pt x="181" y="35"/>
                    <a:pt x="181" y="35"/>
                    <a:pt x="181" y="35"/>
                  </a:cubicBezTo>
                  <a:cubicBezTo>
                    <a:pt x="161" y="13"/>
                    <a:pt x="131" y="0"/>
                    <a:pt x="93" y="0"/>
                  </a:cubicBezTo>
                  <a:cubicBezTo>
                    <a:pt x="44" y="0"/>
                    <a:pt x="8" y="28"/>
                    <a:pt x="8" y="69"/>
                  </a:cubicBezTo>
                  <a:cubicBezTo>
                    <a:pt x="8" y="158"/>
                    <a:pt x="155" y="122"/>
                    <a:pt x="155" y="186"/>
                  </a:cubicBezTo>
                  <a:cubicBezTo>
                    <a:pt x="155" y="205"/>
                    <a:pt x="141" y="229"/>
                    <a:pt x="97" y="229"/>
                  </a:cubicBezTo>
                  <a:cubicBezTo>
                    <a:pt x="61" y="229"/>
                    <a:pt x="35" y="212"/>
                    <a:pt x="18" y="194"/>
                  </a:cubicBezTo>
                  <a:cubicBezTo>
                    <a:pt x="0" y="217"/>
                    <a:pt x="0" y="217"/>
                    <a:pt x="0" y="217"/>
                  </a:cubicBezTo>
                  <a:cubicBezTo>
                    <a:pt x="20" y="240"/>
                    <a:pt x="52" y="257"/>
                    <a:pt x="95" y="2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a:extLst>
              <a:ext uri="{FF2B5EF4-FFF2-40B4-BE49-F238E27FC236}">
                <a16:creationId xmlns:a16="http://schemas.microsoft.com/office/drawing/2014/main" id="{FBF4878D-720F-47B1-9E2E-A6A1C3FB6A77}"/>
              </a:ext>
            </a:extLst>
          </p:cNvPr>
          <p:cNvGrpSpPr/>
          <p:nvPr userDrawn="1"/>
        </p:nvGrpSpPr>
        <p:grpSpPr>
          <a:xfrm>
            <a:off x="1" y="1588"/>
            <a:ext cx="5521325" cy="6856412"/>
            <a:chOff x="1" y="1588"/>
            <a:chExt cx="5521325" cy="6856412"/>
          </a:xfrm>
        </p:grpSpPr>
        <p:sp>
          <p:nvSpPr>
            <p:cNvPr id="53" name="Freeform 5">
              <a:extLst>
                <a:ext uri="{FF2B5EF4-FFF2-40B4-BE49-F238E27FC236}">
                  <a16:creationId xmlns:a16="http://schemas.microsoft.com/office/drawing/2014/main" id="{2BC8DC07-8A63-4B43-9A04-AC8C0BB6B207}"/>
                </a:ext>
              </a:extLst>
            </p:cNvPr>
            <p:cNvSpPr>
              <a:spLocks/>
            </p:cNvSpPr>
            <p:nvPr/>
          </p:nvSpPr>
          <p:spPr bwMode="auto">
            <a:xfrm>
              <a:off x="1" y="1588"/>
              <a:ext cx="5172075" cy="6856412"/>
            </a:xfrm>
            <a:custGeom>
              <a:avLst/>
              <a:gdLst>
                <a:gd name="T0" fmla="*/ 0 w 3258"/>
                <a:gd name="T1" fmla="*/ 0 h 4319"/>
                <a:gd name="T2" fmla="*/ 1739 w 3258"/>
                <a:gd name="T3" fmla="*/ 0 h 4319"/>
                <a:gd name="T4" fmla="*/ 2581 w 3258"/>
                <a:gd name="T5" fmla="*/ 699 h 4319"/>
                <a:gd name="T6" fmla="*/ 3258 w 3258"/>
                <a:gd name="T7" fmla="*/ 1888 h 4319"/>
                <a:gd name="T8" fmla="*/ 2643 w 3258"/>
                <a:gd name="T9" fmla="*/ 4319 h 4319"/>
                <a:gd name="T10" fmla="*/ 0 w 3258"/>
                <a:gd name="T11" fmla="*/ 4319 h 4319"/>
                <a:gd name="T12" fmla="*/ 0 w 325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258" h="4319">
                  <a:moveTo>
                    <a:pt x="0" y="0"/>
                  </a:moveTo>
                  <a:lnTo>
                    <a:pt x="1739" y="0"/>
                  </a:lnTo>
                  <a:lnTo>
                    <a:pt x="2581" y="699"/>
                  </a:lnTo>
                  <a:lnTo>
                    <a:pt x="3258" y="1888"/>
                  </a:lnTo>
                  <a:lnTo>
                    <a:pt x="2643" y="4319"/>
                  </a:lnTo>
                  <a:lnTo>
                    <a:pt x="0" y="4319"/>
                  </a:lnTo>
                  <a:lnTo>
                    <a:pt x="0" y="0"/>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6">
              <a:extLst>
                <a:ext uri="{FF2B5EF4-FFF2-40B4-BE49-F238E27FC236}">
                  <a16:creationId xmlns:a16="http://schemas.microsoft.com/office/drawing/2014/main" id="{66263C1F-34A4-4045-BA8F-6CBE232A12FF}"/>
                </a:ext>
              </a:extLst>
            </p:cNvPr>
            <p:cNvSpPr>
              <a:spLocks/>
            </p:cNvSpPr>
            <p:nvPr/>
          </p:nvSpPr>
          <p:spPr bwMode="auto">
            <a:xfrm>
              <a:off x="2760663" y="1588"/>
              <a:ext cx="1336675" cy="1109662"/>
            </a:xfrm>
            <a:custGeom>
              <a:avLst/>
              <a:gdLst>
                <a:gd name="T0" fmla="*/ 842 w 842"/>
                <a:gd name="T1" fmla="*/ 699 h 699"/>
                <a:gd name="T2" fmla="*/ 443 w 842"/>
                <a:gd name="T3" fmla="*/ 0 h 699"/>
                <a:gd name="T4" fmla="*/ 0 w 842"/>
                <a:gd name="T5" fmla="*/ 0 h 699"/>
                <a:gd name="T6" fmla="*/ 842 w 842"/>
                <a:gd name="T7" fmla="*/ 699 h 699"/>
              </a:gdLst>
              <a:ahLst/>
              <a:cxnLst>
                <a:cxn ang="0">
                  <a:pos x="T0" y="T1"/>
                </a:cxn>
                <a:cxn ang="0">
                  <a:pos x="T2" y="T3"/>
                </a:cxn>
                <a:cxn ang="0">
                  <a:pos x="T4" y="T5"/>
                </a:cxn>
                <a:cxn ang="0">
                  <a:pos x="T6" y="T7"/>
                </a:cxn>
              </a:cxnLst>
              <a:rect l="0" t="0" r="r" b="b"/>
              <a:pathLst>
                <a:path w="842" h="699">
                  <a:moveTo>
                    <a:pt x="842" y="699"/>
                  </a:moveTo>
                  <a:lnTo>
                    <a:pt x="443" y="0"/>
                  </a:lnTo>
                  <a:lnTo>
                    <a:pt x="0" y="0"/>
                  </a:lnTo>
                  <a:lnTo>
                    <a:pt x="842" y="699"/>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7">
              <a:extLst>
                <a:ext uri="{FF2B5EF4-FFF2-40B4-BE49-F238E27FC236}">
                  <a16:creationId xmlns:a16="http://schemas.microsoft.com/office/drawing/2014/main" id="{5F7B420C-29AD-47BA-B4FC-425F316F731E}"/>
                </a:ext>
              </a:extLst>
            </p:cNvPr>
            <p:cNvSpPr>
              <a:spLocks/>
            </p:cNvSpPr>
            <p:nvPr/>
          </p:nvSpPr>
          <p:spPr bwMode="auto">
            <a:xfrm>
              <a:off x="3449412" y="1588"/>
              <a:ext cx="1306513" cy="1670050"/>
            </a:xfrm>
            <a:custGeom>
              <a:avLst/>
              <a:gdLst>
                <a:gd name="T0" fmla="*/ 0 w 823"/>
                <a:gd name="T1" fmla="*/ 0 h 1052"/>
                <a:gd name="T2" fmla="*/ 399 w 823"/>
                <a:gd name="T3" fmla="*/ 699 h 1052"/>
                <a:gd name="T4" fmla="*/ 823 w 823"/>
                <a:gd name="T5" fmla="*/ 1052 h 1052"/>
                <a:gd name="T6" fmla="*/ 531 w 823"/>
                <a:gd name="T7" fmla="*/ 0 h 1052"/>
                <a:gd name="T8" fmla="*/ 0 w 823"/>
                <a:gd name="T9" fmla="*/ 0 h 1052"/>
              </a:gdLst>
              <a:ahLst/>
              <a:cxnLst>
                <a:cxn ang="0">
                  <a:pos x="T0" y="T1"/>
                </a:cxn>
                <a:cxn ang="0">
                  <a:pos x="T2" y="T3"/>
                </a:cxn>
                <a:cxn ang="0">
                  <a:pos x="T4" y="T5"/>
                </a:cxn>
                <a:cxn ang="0">
                  <a:pos x="T6" y="T7"/>
                </a:cxn>
                <a:cxn ang="0">
                  <a:pos x="T8" y="T9"/>
                </a:cxn>
              </a:cxnLst>
              <a:rect l="0" t="0" r="r" b="b"/>
              <a:pathLst>
                <a:path w="823" h="1052">
                  <a:moveTo>
                    <a:pt x="0" y="0"/>
                  </a:moveTo>
                  <a:lnTo>
                    <a:pt x="399" y="699"/>
                  </a:lnTo>
                  <a:lnTo>
                    <a:pt x="823" y="1052"/>
                  </a:lnTo>
                  <a:lnTo>
                    <a:pt x="531" y="0"/>
                  </a:lnTo>
                  <a:lnTo>
                    <a:pt x="0" y="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8">
              <a:extLst>
                <a:ext uri="{FF2B5EF4-FFF2-40B4-BE49-F238E27FC236}">
                  <a16:creationId xmlns:a16="http://schemas.microsoft.com/office/drawing/2014/main" id="{73ECB502-E43F-4A9F-A841-374F73B9934A}"/>
                </a:ext>
              </a:extLst>
            </p:cNvPr>
            <p:cNvSpPr>
              <a:spLocks/>
            </p:cNvSpPr>
            <p:nvPr/>
          </p:nvSpPr>
          <p:spPr bwMode="auto">
            <a:xfrm>
              <a:off x="4097338" y="1111250"/>
              <a:ext cx="1009650" cy="1774825"/>
            </a:xfrm>
            <a:custGeom>
              <a:avLst/>
              <a:gdLst>
                <a:gd name="T0" fmla="*/ 424 w 636"/>
                <a:gd name="T1" fmla="*/ 353 h 1118"/>
                <a:gd name="T2" fmla="*/ 0 w 636"/>
                <a:gd name="T3" fmla="*/ 0 h 1118"/>
                <a:gd name="T4" fmla="*/ 636 w 636"/>
                <a:gd name="T5" fmla="*/ 1118 h 1118"/>
                <a:gd name="T6" fmla="*/ 424 w 636"/>
                <a:gd name="T7" fmla="*/ 353 h 1118"/>
              </a:gdLst>
              <a:ahLst/>
              <a:cxnLst>
                <a:cxn ang="0">
                  <a:pos x="T0" y="T1"/>
                </a:cxn>
                <a:cxn ang="0">
                  <a:pos x="T2" y="T3"/>
                </a:cxn>
                <a:cxn ang="0">
                  <a:pos x="T4" y="T5"/>
                </a:cxn>
                <a:cxn ang="0">
                  <a:pos x="T6" y="T7"/>
                </a:cxn>
              </a:cxnLst>
              <a:rect l="0" t="0" r="r" b="b"/>
              <a:pathLst>
                <a:path w="636" h="1118">
                  <a:moveTo>
                    <a:pt x="424" y="353"/>
                  </a:moveTo>
                  <a:lnTo>
                    <a:pt x="0" y="0"/>
                  </a:lnTo>
                  <a:lnTo>
                    <a:pt x="636" y="1118"/>
                  </a:lnTo>
                  <a:lnTo>
                    <a:pt x="424" y="353"/>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9">
              <a:extLst>
                <a:ext uri="{FF2B5EF4-FFF2-40B4-BE49-F238E27FC236}">
                  <a16:creationId xmlns:a16="http://schemas.microsoft.com/office/drawing/2014/main" id="{7749B455-5B80-4FFF-ADAF-56ECD7D231F9}"/>
                </a:ext>
              </a:extLst>
            </p:cNvPr>
            <p:cNvSpPr>
              <a:spLocks/>
            </p:cNvSpPr>
            <p:nvPr/>
          </p:nvSpPr>
          <p:spPr bwMode="auto">
            <a:xfrm>
              <a:off x="4770438" y="1671638"/>
              <a:ext cx="750888" cy="1327150"/>
            </a:xfrm>
            <a:custGeom>
              <a:avLst/>
              <a:gdLst>
                <a:gd name="T0" fmla="*/ 0 w 473"/>
                <a:gd name="T1" fmla="*/ 0 h 836"/>
                <a:gd name="T2" fmla="*/ 212 w 473"/>
                <a:gd name="T3" fmla="*/ 765 h 836"/>
                <a:gd name="T4" fmla="*/ 253 w 473"/>
                <a:gd name="T5" fmla="*/ 836 h 836"/>
                <a:gd name="T6" fmla="*/ 473 w 473"/>
                <a:gd name="T7" fmla="*/ 393 h 836"/>
                <a:gd name="T8" fmla="*/ 0 w 473"/>
                <a:gd name="T9" fmla="*/ 0 h 836"/>
              </a:gdLst>
              <a:ahLst/>
              <a:cxnLst>
                <a:cxn ang="0">
                  <a:pos x="T0" y="T1"/>
                </a:cxn>
                <a:cxn ang="0">
                  <a:pos x="T2" y="T3"/>
                </a:cxn>
                <a:cxn ang="0">
                  <a:pos x="T4" y="T5"/>
                </a:cxn>
                <a:cxn ang="0">
                  <a:pos x="T6" y="T7"/>
                </a:cxn>
                <a:cxn ang="0">
                  <a:pos x="T8" y="T9"/>
                </a:cxn>
              </a:cxnLst>
              <a:rect l="0" t="0" r="r" b="b"/>
              <a:pathLst>
                <a:path w="473" h="836">
                  <a:moveTo>
                    <a:pt x="0" y="0"/>
                  </a:moveTo>
                  <a:lnTo>
                    <a:pt x="212" y="765"/>
                  </a:lnTo>
                  <a:lnTo>
                    <a:pt x="253" y="836"/>
                  </a:lnTo>
                  <a:lnTo>
                    <a:pt x="473" y="393"/>
                  </a:lnTo>
                  <a:lnTo>
                    <a:pt x="0" y="0"/>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0">
              <a:extLst>
                <a:ext uri="{FF2B5EF4-FFF2-40B4-BE49-F238E27FC236}">
                  <a16:creationId xmlns:a16="http://schemas.microsoft.com/office/drawing/2014/main" id="{DB26BAC0-B64F-494B-AF8F-FFE4AB2C1462}"/>
                </a:ext>
              </a:extLst>
            </p:cNvPr>
            <p:cNvSpPr>
              <a:spLocks/>
            </p:cNvSpPr>
            <p:nvPr/>
          </p:nvSpPr>
          <p:spPr bwMode="auto">
            <a:xfrm>
              <a:off x="3949701" y="3040063"/>
              <a:ext cx="1412875" cy="2417762"/>
            </a:xfrm>
            <a:custGeom>
              <a:avLst/>
              <a:gdLst>
                <a:gd name="T0" fmla="*/ 756 w 890"/>
                <a:gd name="T1" fmla="*/ 0 h 1523"/>
                <a:gd name="T2" fmla="*/ 0 w 890"/>
                <a:gd name="T3" fmla="*/ 1523 h 1523"/>
                <a:gd name="T4" fmla="*/ 890 w 890"/>
                <a:gd name="T5" fmla="*/ 477 h 1523"/>
                <a:gd name="T6" fmla="*/ 756 w 890"/>
                <a:gd name="T7" fmla="*/ 0 h 1523"/>
              </a:gdLst>
              <a:ahLst/>
              <a:cxnLst>
                <a:cxn ang="0">
                  <a:pos x="T0" y="T1"/>
                </a:cxn>
                <a:cxn ang="0">
                  <a:pos x="T2" y="T3"/>
                </a:cxn>
                <a:cxn ang="0">
                  <a:pos x="T4" y="T5"/>
                </a:cxn>
                <a:cxn ang="0">
                  <a:pos x="T6" y="T7"/>
                </a:cxn>
              </a:cxnLst>
              <a:rect l="0" t="0" r="r" b="b"/>
              <a:pathLst>
                <a:path w="890" h="1523">
                  <a:moveTo>
                    <a:pt x="756" y="0"/>
                  </a:moveTo>
                  <a:lnTo>
                    <a:pt x="0" y="1523"/>
                  </a:lnTo>
                  <a:lnTo>
                    <a:pt x="890" y="477"/>
                  </a:lnTo>
                  <a:lnTo>
                    <a:pt x="756" y="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1">
              <a:extLst>
                <a:ext uri="{FF2B5EF4-FFF2-40B4-BE49-F238E27FC236}">
                  <a16:creationId xmlns:a16="http://schemas.microsoft.com/office/drawing/2014/main" id="{3CAF808D-4DA7-42A6-96CA-F970AF5AFEDA}"/>
                </a:ext>
              </a:extLst>
            </p:cNvPr>
            <p:cNvSpPr>
              <a:spLocks/>
            </p:cNvSpPr>
            <p:nvPr/>
          </p:nvSpPr>
          <p:spPr bwMode="auto">
            <a:xfrm>
              <a:off x="5139093" y="2998788"/>
              <a:ext cx="371475" cy="798512"/>
            </a:xfrm>
            <a:custGeom>
              <a:avLst/>
              <a:gdLst>
                <a:gd name="T0" fmla="*/ 0 w 234"/>
                <a:gd name="T1" fmla="*/ 26 h 503"/>
                <a:gd name="T2" fmla="*/ 134 w 234"/>
                <a:gd name="T3" fmla="*/ 503 h 503"/>
                <a:gd name="T4" fmla="*/ 234 w 234"/>
                <a:gd name="T5" fmla="*/ 386 h 503"/>
                <a:gd name="T6" fmla="*/ 14 w 234"/>
                <a:gd name="T7" fmla="*/ 0 h 503"/>
                <a:gd name="T8" fmla="*/ 0 w 234"/>
                <a:gd name="T9" fmla="*/ 26 h 503"/>
              </a:gdLst>
              <a:ahLst/>
              <a:cxnLst>
                <a:cxn ang="0">
                  <a:pos x="T0" y="T1"/>
                </a:cxn>
                <a:cxn ang="0">
                  <a:pos x="T2" y="T3"/>
                </a:cxn>
                <a:cxn ang="0">
                  <a:pos x="T4" y="T5"/>
                </a:cxn>
                <a:cxn ang="0">
                  <a:pos x="T6" y="T7"/>
                </a:cxn>
                <a:cxn ang="0">
                  <a:pos x="T8" y="T9"/>
                </a:cxn>
              </a:cxnLst>
              <a:rect l="0" t="0" r="r" b="b"/>
              <a:pathLst>
                <a:path w="234" h="503">
                  <a:moveTo>
                    <a:pt x="0" y="26"/>
                  </a:moveTo>
                  <a:lnTo>
                    <a:pt x="134" y="503"/>
                  </a:lnTo>
                  <a:lnTo>
                    <a:pt x="234" y="386"/>
                  </a:lnTo>
                  <a:lnTo>
                    <a:pt x="14" y="0"/>
                  </a:lnTo>
                  <a:lnTo>
                    <a:pt x="0" y="26"/>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2">
              <a:extLst>
                <a:ext uri="{FF2B5EF4-FFF2-40B4-BE49-F238E27FC236}">
                  <a16:creationId xmlns:a16="http://schemas.microsoft.com/office/drawing/2014/main" id="{21D44EF5-0340-4C5D-87A9-58925887FC88}"/>
                </a:ext>
              </a:extLst>
            </p:cNvPr>
            <p:cNvSpPr>
              <a:spLocks/>
            </p:cNvSpPr>
            <p:nvPr/>
          </p:nvSpPr>
          <p:spPr bwMode="auto">
            <a:xfrm>
              <a:off x="3254376" y="3797300"/>
              <a:ext cx="2266950" cy="3060700"/>
            </a:xfrm>
            <a:custGeom>
              <a:avLst/>
              <a:gdLst>
                <a:gd name="T0" fmla="*/ 1328 w 1428"/>
                <a:gd name="T1" fmla="*/ 0 h 1928"/>
                <a:gd name="T2" fmla="*/ 438 w 1428"/>
                <a:gd name="T3" fmla="*/ 1046 h 1928"/>
                <a:gd name="T4" fmla="*/ 0 w 1428"/>
                <a:gd name="T5" fmla="*/ 1928 h 1928"/>
                <a:gd name="T6" fmla="*/ 593 w 1428"/>
                <a:gd name="T7" fmla="*/ 1928 h 1928"/>
                <a:gd name="T8" fmla="*/ 1428 w 1428"/>
                <a:gd name="T9" fmla="*/ 363 h 1928"/>
                <a:gd name="T10" fmla="*/ 1328 w 1428"/>
                <a:gd name="T11" fmla="*/ 0 h 1928"/>
              </a:gdLst>
              <a:ahLst/>
              <a:cxnLst>
                <a:cxn ang="0">
                  <a:pos x="T0" y="T1"/>
                </a:cxn>
                <a:cxn ang="0">
                  <a:pos x="T2" y="T3"/>
                </a:cxn>
                <a:cxn ang="0">
                  <a:pos x="T4" y="T5"/>
                </a:cxn>
                <a:cxn ang="0">
                  <a:pos x="T6" y="T7"/>
                </a:cxn>
                <a:cxn ang="0">
                  <a:pos x="T8" y="T9"/>
                </a:cxn>
                <a:cxn ang="0">
                  <a:pos x="T10" y="T11"/>
                </a:cxn>
              </a:cxnLst>
              <a:rect l="0" t="0" r="r" b="b"/>
              <a:pathLst>
                <a:path w="1428" h="1928">
                  <a:moveTo>
                    <a:pt x="1328" y="0"/>
                  </a:moveTo>
                  <a:lnTo>
                    <a:pt x="438" y="1046"/>
                  </a:lnTo>
                  <a:lnTo>
                    <a:pt x="0" y="1928"/>
                  </a:lnTo>
                  <a:lnTo>
                    <a:pt x="593" y="1928"/>
                  </a:lnTo>
                  <a:lnTo>
                    <a:pt x="1428" y="363"/>
                  </a:lnTo>
                  <a:lnTo>
                    <a:pt x="1328" y="0"/>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3">
              <a:extLst>
                <a:ext uri="{FF2B5EF4-FFF2-40B4-BE49-F238E27FC236}">
                  <a16:creationId xmlns:a16="http://schemas.microsoft.com/office/drawing/2014/main" id="{C0E81B97-8A2B-498C-A282-2AB70242BA5C}"/>
                </a:ext>
              </a:extLst>
            </p:cNvPr>
            <p:cNvSpPr>
              <a:spLocks/>
            </p:cNvSpPr>
            <p:nvPr/>
          </p:nvSpPr>
          <p:spPr bwMode="auto">
            <a:xfrm>
              <a:off x="2760663" y="5457825"/>
              <a:ext cx="1189038" cy="1400175"/>
            </a:xfrm>
            <a:custGeom>
              <a:avLst/>
              <a:gdLst>
                <a:gd name="T0" fmla="*/ 311 w 749"/>
                <a:gd name="T1" fmla="*/ 882 h 882"/>
                <a:gd name="T2" fmla="*/ 749 w 749"/>
                <a:gd name="T3" fmla="*/ 0 h 882"/>
                <a:gd name="T4" fmla="*/ 0 w 749"/>
                <a:gd name="T5" fmla="*/ 882 h 882"/>
                <a:gd name="T6" fmla="*/ 311 w 749"/>
                <a:gd name="T7" fmla="*/ 882 h 882"/>
              </a:gdLst>
              <a:ahLst/>
              <a:cxnLst>
                <a:cxn ang="0">
                  <a:pos x="T0" y="T1"/>
                </a:cxn>
                <a:cxn ang="0">
                  <a:pos x="T2" y="T3"/>
                </a:cxn>
                <a:cxn ang="0">
                  <a:pos x="T4" y="T5"/>
                </a:cxn>
                <a:cxn ang="0">
                  <a:pos x="T6" y="T7"/>
                </a:cxn>
              </a:cxnLst>
              <a:rect l="0" t="0" r="r" b="b"/>
              <a:pathLst>
                <a:path w="749" h="882">
                  <a:moveTo>
                    <a:pt x="311" y="882"/>
                  </a:moveTo>
                  <a:lnTo>
                    <a:pt x="749" y="0"/>
                  </a:lnTo>
                  <a:lnTo>
                    <a:pt x="0" y="882"/>
                  </a:lnTo>
                  <a:lnTo>
                    <a:pt x="311" y="882"/>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 name="Group 61">
            <a:extLst>
              <a:ext uri="{FF2B5EF4-FFF2-40B4-BE49-F238E27FC236}">
                <a16:creationId xmlns:a16="http://schemas.microsoft.com/office/drawing/2014/main" id="{DBB71643-D28A-437E-AA77-16BA271E9FA3}"/>
              </a:ext>
            </a:extLst>
          </p:cNvPr>
          <p:cNvGrpSpPr>
            <a:grpSpLocks/>
          </p:cNvGrpSpPr>
          <p:nvPr userDrawn="1"/>
        </p:nvGrpSpPr>
        <p:grpSpPr>
          <a:xfrm>
            <a:off x="6253390" y="1378143"/>
            <a:ext cx="2445002" cy="586989"/>
            <a:chOff x="4124325" y="4591050"/>
            <a:chExt cx="2479675" cy="595313"/>
          </a:xfrm>
        </p:grpSpPr>
        <p:grpSp>
          <p:nvGrpSpPr>
            <p:cNvPr id="63" name="Group 62">
              <a:extLst>
                <a:ext uri="{FF2B5EF4-FFF2-40B4-BE49-F238E27FC236}">
                  <a16:creationId xmlns:a16="http://schemas.microsoft.com/office/drawing/2014/main" id="{50C495B0-4D89-4302-A4D3-39E7C6CB6544}"/>
                </a:ext>
              </a:extLst>
            </p:cNvPr>
            <p:cNvGrpSpPr/>
            <p:nvPr/>
          </p:nvGrpSpPr>
          <p:grpSpPr>
            <a:xfrm>
              <a:off x="4124325" y="4591050"/>
              <a:ext cx="460375" cy="595313"/>
              <a:chOff x="4124325" y="4591050"/>
              <a:chExt cx="460375" cy="595313"/>
            </a:xfrm>
          </p:grpSpPr>
          <p:sp>
            <p:nvSpPr>
              <p:cNvPr id="65" name="Freeform 25">
                <a:extLst>
                  <a:ext uri="{FF2B5EF4-FFF2-40B4-BE49-F238E27FC236}">
                    <a16:creationId xmlns:a16="http://schemas.microsoft.com/office/drawing/2014/main" id="{EADA5A39-359F-4FE5-A8D4-3751597221DF}"/>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
                <a:extLst>
                  <a:ext uri="{FF2B5EF4-FFF2-40B4-BE49-F238E27FC236}">
                    <a16:creationId xmlns:a16="http://schemas.microsoft.com/office/drawing/2014/main" id="{C7B4DF44-2AB4-4545-A5B3-B1BB8583CD4F}"/>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7">
                <a:extLst>
                  <a:ext uri="{FF2B5EF4-FFF2-40B4-BE49-F238E27FC236}">
                    <a16:creationId xmlns:a16="http://schemas.microsoft.com/office/drawing/2014/main" id="{633D114A-0F4F-45E7-B23D-1B3E3924FC11}"/>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8">
                <a:extLst>
                  <a:ext uri="{FF2B5EF4-FFF2-40B4-BE49-F238E27FC236}">
                    <a16:creationId xmlns:a16="http://schemas.microsoft.com/office/drawing/2014/main" id="{BC499D0A-0324-495D-9B8A-3CDFC892E224}"/>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9">
                <a:extLst>
                  <a:ext uri="{FF2B5EF4-FFF2-40B4-BE49-F238E27FC236}">
                    <a16:creationId xmlns:a16="http://schemas.microsoft.com/office/drawing/2014/main" id="{ECE92F99-E4AE-49DC-93CA-E75C9E6720A6}"/>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0">
                <a:extLst>
                  <a:ext uri="{FF2B5EF4-FFF2-40B4-BE49-F238E27FC236}">
                    <a16:creationId xmlns:a16="http://schemas.microsoft.com/office/drawing/2014/main" id="{6228C34E-4460-4CDB-8757-C62BE79BFB26}"/>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1">
                <a:extLst>
                  <a:ext uri="{FF2B5EF4-FFF2-40B4-BE49-F238E27FC236}">
                    <a16:creationId xmlns:a16="http://schemas.microsoft.com/office/drawing/2014/main" id="{8E94276C-6441-46F6-AB36-DBAADC726DA1}"/>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2">
                <a:extLst>
                  <a:ext uri="{FF2B5EF4-FFF2-40B4-BE49-F238E27FC236}">
                    <a16:creationId xmlns:a16="http://schemas.microsoft.com/office/drawing/2014/main" id="{F5A21BE1-FA3A-44C6-A77A-1D8844076FE4}"/>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3">
                <a:extLst>
                  <a:ext uri="{FF2B5EF4-FFF2-40B4-BE49-F238E27FC236}">
                    <a16:creationId xmlns:a16="http://schemas.microsoft.com/office/drawing/2014/main" id="{892459D0-11F6-4301-8E8C-49F190E75AA1}"/>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4" name="Freeform 34">
              <a:extLst>
                <a:ext uri="{FF2B5EF4-FFF2-40B4-BE49-F238E27FC236}">
                  <a16:creationId xmlns:a16="http://schemas.microsoft.com/office/drawing/2014/main" id="{639AC637-1673-4DB7-8405-B911330E2192}"/>
                </a:ext>
              </a:extLst>
            </p:cNvPr>
            <p:cNvSpPr>
              <a:spLocks noEditPoints="1"/>
            </p:cNvSpPr>
            <p:nvPr/>
          </p:nvSpPr>
          <p:spPr bwMode="auto">
            <a:xfrm>
              <a:off x="4873625" y="4746625"/>
              <a:ext cx="1730375" cy="284162"/>
            </a:xfrm>
            <a:custGeom>
              <a:avLst/>
              <a:gdLst>
                <a:gd name="T0" fmla="*/ 1399 w 1571"/>
                <a:gd name="T1" fmla="*/ 170 h 257"/>
                <a:gd name="T2" fmla="*/ 1505 w 1571"/>
                <a:gd name="T3" fmla="*/ 170 h 257"/>
                <a:gd name="T4" fmla="*/ 1471 w 1571"/>
                <a:gd name="T5" fmla="*/ 4 h 257"/>
                <a:gd name="T6" fmla="*/ 1333 w 1571"/>
                <a:gd name="T7" fmla="*/ 252 h 257"/>
                <a:gd name="T8" fmla="*/ 1390 w 1571"/>
                <a:gd name="T9" fmla="*/ 197 h 257"/>
                <a:gd name="T10" fmla="*/ 1536 w 1571"/>
                <a:gd name="T11" fmla="*/ 252 h 257"/>
                <a:gd name="T12" fmla="*/ 1208 w 1571"/>
                <a:gd name="T13" fmla="*/ 252 h 257"/>
                <a:gd name="T14" fmla="*/ 1287 w 1571"/>
                <a:gd name="T15" fmla="*/ 31 h 257"/>
                <a:gd name="T16" fmla="*/ 1098 w 1571"/>
                <a:gd name="T17" fmla="*/ 4 h 257"/>
                <a:gd name="T18" fmla="*/ 1177 w 1571"/>
                <a:gd name="T19" fmla="*/ 31 h 257"/>
                <a:gd name="T20" fmla="*/ 1208 w 1571"/>
                <a:gd name="T21" fmla="*/ 252 h 257"/>
                <a:gd name="T22" fmla="*/ 867 w 1571"/>
                <a:gd name="T23" fmla="*/ 126 h 257"/>
                <a:gd name="T24" fmla="*/ 932 w 1571"/>
                <a:gd name="T25" fmla="*/ 31 h 257"/>
                <a:gd name="T26" fmla="*/ 932 w 1571"/>
                <a:gd name="T27" fmla="*/ 126 h 257"/>
                <a:gd name="T28" fmla="*/ 950 w 1571"/>
                <a:gd name="T29" fmla="*/ 151 h 257"/>
                <a:gd name="T30" fmla="*/ 936 w 1571"/>
                <a:gd name="T31" fmla="*/ 4 h 257"/>
                <a:gd name="T32" fmla="*/ 836 w 1571"/>
                <a:gd name="T33" fmla="*/ 252 h 257"/>
                <a:gd name="T34" fmla="*/ 867 w 1571"/>
                <a:gd name="T35" fmla="*/ 154 h 257"/>
                <a:gd name="T36" fmla="*/ 980 w 1571"/>
                <a:gd name="T37" fmla="*/ 252 h 257"/>
                <a:gd name="T38" fmla="*/ 681 w 1571"/>
                <a:gd name="T39" fmla="*/ 170 h 257"/>
                <a:gd name="T40" fmla="*/ 629 w 1571"/>
                <a:gd name="T41" fmla="*/ 36 h 257"/>
                <a:gd name="T42" fmla="*/ 748 w 1571"/>
                <a:gd name="T43" fmla="*/ 252 h 257"/>
                <a:gd name="T44" fmla="*/ 609 w 1571"/>
                <a:gd name="T45" fmla="*/ 4 h 257"/>
                <a:gd name="T46" fmla="*/ 545 w 1571"/>
                <a:gd name="T47" fmla="*/ 252 h 257"/>
                <a:gd name="T48" fmla="*/ 691 w 1571"/>
                <a:gd name="T49" fmla="*/ 197 h 257"/>
                <a:gd name="T50" fmla="*/ 748 w 1571"/>
                <a:gd name="T51" fmla="*/ 252 h 257"/>
                <a:gd name="T52" fmla="*/ 320 w 1571"/>
                <a:gd name="T53" fmla="*/ 126 h 257"/>
                <a:gd name="T54" fmla="*/ 385 w 1571"/>
                <a:gd name="T55" fmla="*/ 31 h 257"/>
                <a:gd name="T56" fmla="*/ 385 w 1571"/>
                <a:gd name="T57" fmla="*/ 126 h 257"/>
                <a:gd name="T58" fmla="*/ 320 w 1571"/>
                <a:gd name="T59" fmla="*/ 154 h 257"/>
                <a:gd name="T60" fmla="*/ 467 w 1571"/>
                <a:gd name="T61" fmla="*/ 79 h 257"/>
                <a:gd name="T62" fmla="*/ 289 w 1571"/>
                <a:gd name="T63" fmla="*/ 4 h 257"/>
                <a:gd name="T64" fmla="*/ 320 w 1571"/>
                <a:gd name="T65" fmla="*/ 252 h 257"/>
                <a:gd name="T66" fmla="*/ 187 w 1571"/>
                <a:gd name="T67" fmla="*/ 184 h 257"/>
                <a:gd name="T68" fmla="*/ 91 w 1571"/>
                <a:gd name="T69" fmla="*/ 28 h 257"/>
                <a:gd name="T70" fmla="*/ 181 w 1571"/>
                <a:gd name="T71" fmla="*/ 35 h 257"/>
                <a:gd name="T72" fmla="*/ 8 w 1571"/>
                <a:gd name="T73" fmla="*/ 69 h 257"/>
                <a:gd name="T74" fmla="*/ 97 w 1571"/>
                <a:gd name="T75" fmla="*/ 229 h 257"/>
                <a:gd name="T76" fmla="*/ 0 w 1571"/>
                <a:gd name="T77" fmla="*/ 21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7">
                  <a:moveTo>
                    <a:pt x="1505" y="170"/>
                  </a:moveTo>
                  <a:cubicBezTo>
                    <a:pt x="1399" y="170"/>
                    <a:pt x="1399" y="170"/>
                    <a:pt x="1399" y="170"/>
                  </a:cubicBezTo>
                  <a:cubicBezTo>
                    <a:pt x="1452" y="36"/>
                    <a:pt x="1452" y="36"/>
                    <a:pt x="1452" y="36"/>
                  </a:cubicBezTo>
                  <a:lnTo>
                    <a:pt x="1505" y="170"/>
                  </a:lnTo>
                  <a:close/>
                  <a:moveTo>
                    <a:pt x="1571" y="252"/>
                  </a:moveTo>
                  <a:cubicBezTo>
                    <a:pt x="1471" y="4"/>
                    <a:pt x="1471" y="4"/>
                    <a:pt x="1471" y="4"/>
                  </a:cubicBezTo>
                  <a:cubicBezTo>
                    <a:pt x="1433" y="4"/>
                    <a:pt x="1433" y="4"/>
                    <a:pt x="1433" y="4"/>
                  </a:cubicBezTo>
                  <a:cubicBezTo>
                    <a:pt x="1333" y="252"/>
                    <a:pt x="1333" y="252"/>
                    <a:pt x="1333" y="252"/>
                  </a:cubicBezTo>
                  <a:cubicBezTo>
                    <a:pt x="1368" y="252"/>
                    <a:pt x="1368" y="252"/>
                    <a:pt x="1368" y="252"/>
                  </a:cubicBezTo>
                  <a:cubicBezTo>
                    <a:pt x="1390" y="197"/>
                    <a:pt x="1390" y="197"/>
                    <a:pt x="1390" y="197"/>
                  </a:cubicBezTo>
                  <a:cubicBezTo>
                    <a:pt x="1514" y="197"/>
                    <a:pt x="1514" y="197"/>
                    <a:pt x="1514" y="197"/>
                  </a:cubicBezTo>
                  <a:cubicBezTo>
                    <a:pt x="1536" y="252"/>
                    <a:pt x="1536" y="252"/>
                    <a:pt x="1536" y="252"/>
                  </a:cubicBezTo>
                  <a:lnTo>
                    <a:pt x="1571" y="252"/>
                  </a:lnTo>
                  <a:close/>
                  <a:moveTo>
                    <a:pt x="1208" y="252"/>
                  </a:moveTo>
                  <a:cubicBezTo>
                    <a:pt x="1208" y="31"/>
                    <a:pt x="1208" y="31"/>
                    <a:pt x="1208" y="31"/>
                  </a:cubicBezTo>
                  <a:cubicBezTo>
                    <a:pt x="1287" y="31"/>
                    <a:pt x="1287" y="31"/>
                    <a:pt x="1287" y="31"/>
                  </a:cubicBezTo>
                  <a:cubicBezTo>
                    <a:pt x="1287" y="4"/>
                    <a:pt x="1287" y="4"/>
                    <a:pt x="1287" y="4"/>
                  </a:cubicBezTo>
                  <a:cubicBezTo>
                    <a:pt x="1098" y="4"/>
                    <a:pt x="1098" y="4"/>
                    <a:pt x="1098" y="4"/>
                  </a:cubicBezTo>
                  <a:cubicBezTo>
                    <a:pt x="1098" y="31"/>
                    <a:pt x="1098" y="31"/>
                    <a:pt x="1098" y="31"/>
                  </a:cubicBezTo>
                  <a:cubicBezTo>
                    <a:pt x="1177" y="31"/>
                    <a:pt x="1177" y="31"/>
                    <a:pt x="1177" y="31"/>
                  </a:cubicBezTo>
                  <a:cubicBezTo>
                    <a:pt x="1177" y="252"/>
                    <a:pt x="1177" y="252"/>
                    <a:pt x="1177" y="252"/>
                  </a:cubicBezTo>
                  <a:lnTo>
                    <a:pt x="1208" y="252"/>
                  </a:lnTo>
                  <a:close/>
                  <a:moveTo>
                    <a:pt x="932" y="126"/>
                  </a:moveTo>
                  <a:cubicBezTo>
                    <a:pt x="867" y="126"/>
                    <a:pt x="867" y="126"/>
                    <a:pt x="867" y="126"/>
                  </a:cubicBezTo>
                  <a:cubicBezTo>
                    <a:pt x="867" y="31"/>
                    <a:pt x="867" y="31"/>
                    <a:pt x="867" y="31"/>
                  </a:cubicBezTo>
                  <a:cubicBezTo>
                    <a:pt x="932" y="31"/>
                    <a:pt x="932" y="31"/>
                    <a:pt x="932" y="31"/>
                  </a:cubicBezTo>
                  <a:cubicBezTo>
                    <a:pt x="962" y="31"/>
                    <a:pt x="982" y="51"/>
                    <a:pt x="982" y="79"/>
                  </a:cubicBezTo>
                  <a:cubicBezTo>
                    <a:pt x="982" y="107"/>
                    <a:pt x="962" y="126"/>
                    <a:pt x="932" y="126"/>
                  </a:cubicBezTo>
                  <a:close/>
                  <a:moveTo>
                    <a:pt x="1017" y="252"/>
                  </a:moveTo>
                  <a:cubicBezTo>
                    <a:pt x="950" y="151"/>
                    <a:pt x="950" y="151"/>
                    <a:pt x="950" y="151"/>
                  </a:cubicBezTo>
                  <a:cubicBezTo>
                    <a:pt x="984" y="148"/>
                    <a:pt x="1014" y="123"/>
                    <a:pt x="1014" y="79"/>
                  </a:cubicBezTo>
                  <a:cubicBezTo>
                    <a:pt x="1014" y="33"/>
                    <a:pt x="982" y="4"/>
                    <a:pt x="936" y="4"/>
                  </a:cubicBezTo>
                  <a:cubicBezTo>
                    <a:pt x="836" y="4"/>
                    <a:pt x="836" y="4"/>
                    <a:pt x="836" y="4"/>
                  </a:cubicBezTo>
                  <a:cubicBezTo>
                    <a:pt x="836" y="252"/>
                    <a:pt x="836" y="252"/>
                    <a:pt x="836" y="252"/>
                  </a:cubicBezTo>
                  <a:cubicBezTo>
                    <a:pt x="867" y="252"/>
                    <a:pt x="867" y="252"/>
                    <a:pt x="867" y="252"/>
                  </a:cubicBezTo>
                  <a:cubicBezTo>
                    <a:pt x="867" y="154"/>
                    <a:pt x="867" y="154"/>
                    <a:pt x="867" y="154"/>
                  </a:cubicBezTo>
                  <a:cubicBezTo>
                    <a:pt x="917" y="154"/>
                    <a:pt x="917" y="154"/>
                    <a:pt x="917" y="154"/>
                  </a:cubicBezTo>
                  <a:cubicBezTo>
                    <a:pt x="980" y="252"/>
                    <a:pt x="980" y="252"/>
                    <a:pt x="980" y="252"/>
                  </a:cubicBezTo>
                  <a:lnTo>
                    <a:pt x="1017" y="252"/>
                  </a:lnTo>
                  <a:close/>
                  <a:moveTo>
                    <a:pt x="681" y="170"/>
                  </a:moveTo>
                  <a:cubicBezTo>
                    <a:pt x="576" y="170"/>
                    <a:pt x="576" y="170"/>
                    <a:pt x="576" y="170"/>
                  </a:cubicBezTo>
                  <a:cubicBezTo>
                    <a:pt x="629" y="36"/>
                    <a:pt x="629" y="36"/>
                    <a:pt x="629" y="36"/>
                  </a:cubicBezTo>
                  <a:lnTo>
                    <a:pt x="681" y="170"/>
                  </a:lnTo>
                  <a:close/>
                  <a:moveTo>
                    <a:pt x="748" y="252"/>
                  </a:moveTo>
                  <a:cubicBezTo>
                    <a:pt x="648" y="4"/>
                    <a:pt x="648" y="4"/>
                    <a:pt x="648" y="4"/>
                  </a:cubicBezTo>
                  <a:cubicBezTo>
                    <a:pt x="609" y="4"/>
                    <a:pt x="609" y="4"/>
                    <a:pt x="609" y="4"/>
                  </a:cubicBezTo>
                  <a:cubicBezTo>
                    <a:pt x="509" y="252"/>
                    <a:pt x="509" y="252"/>
                    <a:pt x="509" y="252"/>
                  </a:cubicBezTo>
                  <a:cubicBezTo>
                    <a:pt x="545" y="252"/>
                    <a:pt x="545" y="252"/>
                    <a:pt x="545" y="252"/>
                  </a:cubicBezTo>
                  <a:cubicBezTo>
                    <a:pt x="567" y="197"/>
                    <a:pt x="567" y="197"/>
                    <a:pt x="567" y="197"/>
                  </a:cubicBezTo>
                  <a:cubicBezTo>
                    <a:pt x="691" y="197"/>
                    <a:pt x="691" y="197"/>
                    <a:pt x="691" y="197"/>
                  </a:cubicBezTo>
                  <a:cubicBezTo>
                    <a:pt x="713" y="252"/>
                    <a:pt x="713" y="252"/>
                    <a:pt x="713" y="252"/>
                  </a:cubicBezTo>
                  <a:lnTo>
                    <a:pt x="748" y="252"/>
                  </a:lnTo>
                  <a:close/>
                  <a:moveTo>
                    <a:pt x="385" y="126"/>
                  </a:moveTo>
                  <a:cubicBezTo>
                    <a:pt x="320" y="126"/>
                    <a:pt x="320" y="126"/>
                    <a:pt x="320" y="126"/>
                  </a:cubicBezTo>
                  <a:cubicBezTo>
                    <a:pt x="320" y="31"/>
                    <a:pt x="320" y="31"/>
                    <a:pt x="320" y="31"/>
                  </a:cubicBezTo>
                  <a:cubicBezTo>
                    <a:pt x="385" y="31"/>
                    <a:pt x="385" y="31"/>
                    <a:pt x="385" y="31"/>
                  </a:cubicBezTo>
                  <a:cubicBezTo>
                    <a:pt x="415" y="31"/>
                    <a:pt x="435" y="51"/>
                    <a:pt x="435" y="79"/>
                  </a:cubicBezTo>
                  <a:cubicBezTo>
                    <a:pt x="435" y="107"/>
                    <a:pt x="415" y="126"/>
                    <a:pt x="385" y="126"/>
                  </a:cubicBezTo>
                  <a:close/>
                  <a:moveTo>
                    <a:pt x="320" y="252"/>
                  </a:moveTo>
                  <a:cubicBezTo>
                    <a:pt x="320" y="154"/>
                    <a:pt x="320" y="154"/>
                    <a:pt x="320" y="154"/>
                  </a:cubicBezTo>
                  <a:cubicBezTo>
                    <a:pt x="389" y="154"/>
                    <a:pt x="389" y="154"/>
                    <a:pt x="389" y="154"/>
                  </a:cubicBezTo>
                  <a:cubicBezTo>
                    <a:pt x="438" y="154"/>
                    <a:pt x="467" y="119"/>
                    <a:pt x="467" y="79"/>
                  </a:cubicBezTo>
                  <a:cubicBezTo>
                    <a:pt x="467" y="38"/>
                    <a:pt x="439" y="4"/>
                    <a:pt x="389" y="4"/>
                  </a:cubicBezTo>
                  <a:cubicBezTo>
                    <a:pt x="289" y="4"/>
                    <a:pt x="289" y="4"/>
                    <a:pt x="289" y="4"/>
                  </a:cubicBezTo>
                  <a:cubicBezTo>
                    <a:pt x="289" y="252"/>
                    <a:pt x="289" y="252"/>
                    <a:pt x="289" y="252"/>
                  </a:cubicBezTo>
                  <a:lnTo>
                    <a:pt x="320" y="252"/>
                  </a:lnTo>
                  <a:close/>
                  <a:moveTo>
                    <a:pt x="95" y="257"/>
                  </a:moveTo>
                  <a:cubicBezTo>
                    <a:pt x="162" y="257"/>
                    <a:pt x="187" y="220"/>
                    <a:pt x="187" y="184"/>
                  </a:cubicBezTo>
                  <a:cubicBezTo>
                    <a:pt x="187" y="91"/>
                    <a:pt x="40" y="123"/>
                    <a:pt x="40" y="67"/>
                  </a:cubicBezTo>
                  <a:cubicBezTo>
                    <a:pt x="40" y="44"/>
                    <a:pt x="61" y="28"/>
                    <a:pt x="91" y="28"/>
                  </a:cubicBezTo>
                  <a:cubicBezTo>
                    <a:pt x="118" y="28"/>
                    <a:pt x="144" y="37"/>
                    <a:pt x="163" y="57"/>
                  </a:cubicBezTo>
                  <a:cubicBezTo>
                    <a:pt x="181" y="35"/>
                    <a:pt x="181" y="35"/>
                    <a:pt x="181" y="35"/>
                  </a:cubicBezTo>
                  <a:cubicBezTo>
                    <a:pt x="161" y="13"/>
                    <a:pt x="131" y="0"/>
                    <a:pt x="93" y="0"/>
                  </a:cubicBezTo>
                  <a:cubicBezTo>
                    <a:pt x="44" y="0"/>
                    <a:pt x="8" y="28"/>
                    <a:pt x="8" y="69"/>
                  </a:cubicBezTo>
                  <a:cubicBezTo>
                    <a:pt x="8" y="158"/>
                    <a:pt x="155" y="122"/>
                    <a:pt x="155" y="186"/>
                  </a:cubicBezTo>
                  <a:cubicBezTo>
                    <a:pt x="155" y="205"/>
                    <a:pt x="141" y="229"/>
                    <a:pt x="97" y="229"/>
                  </a:cubicBezTo>
                  <a:cubicBezTo>
                    <a:pt x="61" y="229"/>
                    <a:pt x="35" y="212"/>
                    <a:pt x="18" y="194"/>
                  </a:cubicBezTo>
                  <a:cubicBezTo>
                    <a:pt x="0" y="217"/>
                    <a:pt x="0" y="217"/>
                    <a:pt x="0" y="217"/>
                  </a:cubicBezTo>
                  <a:cubicBezTo>
                    <a:pt x="20" y="240"/>
                    <a:pt x="52" y="257"/>
                    <a:pt x="95" y="2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 name="Text Placeholder 31">
            <a:extLst>
              <a:ext uri="{FF2B5EF4-FFF2-40B4-BE49-F238E27FC236}">
                <a16:creationId xmlns:a16="http://schemas.microsoft.com/office/drawing/2014/main" id="{B0EFC53D-B48F-4673-BFD6-62DCF0B60C26}"/>
              </a:ext>
            </a:extLst>
          </p:cNvPr>
          <p:cNvSpPr>
            <a:spLocks noGrp="1"/>
          </p:cNvSpPr>
          <p:nvPr>
            <p:ph type="body" sz="quarter" idx="12"/>
          </p:nvPr>
        </p:nvSpPr>
        <p:spPr>
          <a:xfrm>
            <a:off x="6253389" y="4368516"/>
            <a:ext cx="5503179" cy="1898673"/>
          </a:xfrm>
        </p:spPr>
        <p:txBody>
          <a:bodyPr>
            <a:normAutofit/>
          </a:bodyPr>
          <a:lstStyle>
            <a:lvl1pPr marL="0" indent="0">
              <a:spcAft>
                <a:spcPts val="600"/>
              </a:spcAft>
              <a:buNone/>
              <a:defRPr sz="1800"/>
            </a:lvl1pPr>
            <a:lvl2pPr>
              <a:defRPr sz="1800"/>
            </a:lvl2pPr>
          </a:lstStyle>
          <a:p>
            <a:pPr lvl="0"/>
            <a:r>
              <a:rPr lang="en-US" dirty="0"/>
              <a:t>Edit Master text styles</a:t>
            </a:r>
          </a:p>
        </p:txBody>
      </p:sp>
    </p:spTree>
    <p:extLst>
      <p:ext uri="{BB962C8B-B14F-4D97-AF65-F5344CB8AC3E}">
        <p14:creationId xmlns:p14="http://schemas.microsoft.com/office/powerpoint/2010/main" val="18896428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3-2/3 split">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442914" y="1342800"/>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3996113" y="1342800"/>
            <a:ext cx="68148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3501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3-1/3 split">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7549313" y="1342800"/>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442911" y="1342800"/>
            <a:ext cx="6814801"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5688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content and picture right">
    <p:spTree>
      <p:nvGrpSpPr>
        <p:cNvPr id="1" name=""/>
        <p:cNvGrpSpPr/>
        <p:nvPr/>
      </p:nvGrpSpPr>
      <p:grpSpPr>
        <a:xfrm>
          <a:off x="0" y="0"/>
          <a:ext cx="0" cy="0"/>
          <a:chOff x="0" y="0"/>
          <a:chExt cx="0" cy="0"/>
        </a:xfrm>
      </p:grpSpPr>
      <p:sp>
        <p:nvSpPr>
          <p:cNvPr id="9" name="Inhaltsplatzhalter 6"/>
          <p:cNvSpPr>
            <a:spLocks noGrp="1"/>
          </p:cNvSpPr>
          <p:nvPr>
            <p:ph sz="quarter" idx="13" hasCustomPrompt="1"/>
          </p:nvPr>
        </p:nvSpPr>
        <p:spPr>
          <a:xfrm>
            <a:off x="442913" y="1341437"/>
            <a:ext cx="7476886" cy="4967288"/>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a:xfrm>
            <a:off x="442912" y="314313"/>
            <a:ext cx="7476887" cy="666747"/>
          </a:xfrm>
        </p:spPr>
        <p:txBody>
          <a:bodyPr/>
          <a:lstStyle/>
          <a:p>
            <a:r>
              <a:rPr lang="en-US"/>
              <a:t>Click to edit Master title style</a:t>
            </a:r>
            <a:endParaRPr lang="en-US" dirty="0"/>
          </a:p>
        </p:txBody>
      </p:sp>
      <p:sp>
        <p:nvSpPr>
          <p:cNvPr id="5" name="Picture Placeholder 6">
            <a:extLst>
              <a:ext uri="{FF2B5EF4-FFF2-40B4-BE49-F238E27FC236}">
                <a16:creationId xmlns:a16="http://schemas.microsoft.com/office/drawing/2014/main" id="{1D79F134-8512-4E7E-B15A-4229C14EBCC1}"/>
              </a:ext>
            </a:extLst>
          </p:cNvPr>
          <p:cNvSpPr>
            <a:spLocks noGrp="1"/>
          </p:cNvSpPr>
          <p:nvPr>
            <p:ph type="pic" sz="quarter" idx="10"/>
          </p:nvPr>
        </p:nvSpPr>
        <p:spPr>
          <a:xfrm>
            <a:off x="8380802" y="0"/>
            <a:ext cx="3408815" cy="6858000"/>
          </a:xfrm>
          <a:custGeom>
            <a:avLst/>
            <a:gdLst>
              <a:gd name="connsiteX0" fmla="*/ 0 w 3408815"/>
              <a:gd name="connsiteY0" fmla="*/ 0 h 6858000"/>
              <a:gd name="connsiteX1" fmla="*/ 3159858 w 3408815"/>
              <a:gd name="connsiteY1" fmla="*/ 0 h 6858000"/>
              <a:gd name="connsiteX2" fmla="*/ 3023800 w 3408815"/>
              <a:gd name="connsiteY2" fmla="*/ 610131 h 6858000"/>
              <a:gd name="connsiteX3" fmla="*/ 3174853 w 3408815"/>
              <a:gd name="connsiteY3" fmla="*/ 493085 h 6858000"/>
              <a:gd name="connsiteX4" fmla="*/ 3174332 w 3408815"/>
              <a:gd name="connsiteY4" fmla="*/ 495433 h 6858000"/>
              <a:gd name="connsiteX5" fmla="*/ 2884694 w 3408815"/>
              <a:gd name="connsiteY5" fmla="*/ 2908481 h 6858000"/>
              <a:gd name="connsiteX6" fmla="*/ 2630100 w 3408815"/>
              <a:gd name="connsiteY6" fmla="*/ 3340586 h 6858000"/>
              <a:gd name="connsiteX7" fmla="*/ 3408815 w 3408815"/>
              <a:gd name="connsiteY7" fmla="*/ 6858000 h 6858000"/>
              <a:gd name="connsiteX8" fmla="*/ 0 w 3408815"/>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8815" h="6858000">
                <a:moveTo>
                  <a:pt x="0" y="0"/>
                </a:moveTo>
                <a:lnTo>
                  <a:pt x="3159858" y="0"/>
                </a:lnTo>
                <a:lnTo>
                  <a:pt x="3023800" y="610131"/>
                </a:lnTo>
                <a:lnTo>
                  <a:pt x="3174853" y="493085"/>
                </a:lnTo>
                <a:lnTo>
                  <a:pt x="3174332" y="495433"/>
                </a:lnTo>
                <a:lnTo>
                  <a:pt x="2884694" y="2908481"/>
                </a:lnTo>
                <a:lnTo>
                  <a:pt x="2630100" y="3340586"/>
                </a:lnTo>
                <a:lnTo>
                  <a:pt x="3408815"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7032159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content, header and picture right">
    <p:spTree>
      <p:nvGrpSpPr>
        <p:cNvPr id="1" name=""/>
        <p:cNvGrpSpPr/>
        <p:nvPr/>
      </p:nvGrpSpPr>
      <p:grpSpPr>
        <a:xfrm>
          <a:off x="0" y="0"/>
          <a:ext cx="0" cy="0"/>
          <a:chOff x="0" y="0"/>
          <a:chExt cx="0" cy="0"/>
        </a:xfrm>
      </p:grpSpPr>
      <p:sp>
        <p:nvSpPr>
          <p:cNvPr id="2" name="Title 1"/>
          <p:cNvSpPr>
            <a:spLocks noGrp="1"/>
          </p:cNvSpPr>
          <p:nvPr>
            <p:ph type="title"/>
          </p:nvPr>
        </p:nvSpPr>
        <p:spPr>
          <a:xfrm>
            <a:off x="442912" y="314313"/>
            <a:ext cx="7476887" cy="666747"/>
          </a:xfrm>
        </p:spPr>
        <p:txBody>
          <a:bodyPr/>
          <a:lstStyle/>
          <a:p>
            <a:r>
              <a:rPr lang="en-US"/>
              <a:t>Click to edit Master title style</a:t>
            </a:r>
            <a:endParaRPr lang="en-US" dirty="0"/>
          </a:p>
        </p:txBody>
      </p:sp>
      <p:sp>
        <p:nvSpPr>
          <p:cNvPr id="5" name="Inhaltsplatzhalter 6"/>
          <p:cNvSpPr>
            <a:spLocks noGrp="1"/>
          </p:cNvSpPr>
          <p:nvPr>
            <p:ph sz="quarter" idx="15" hasCustomPrompt="1"/>
          </p:nvPr>
        </p:nvSpPr>
        <p:spPr>
          <a:xfrm>
            <a:off x="442913" y="1794141"/>
            <a:ext cx="7476886"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platzhalter 8"/>
          <p:cNvSpPr>
            <a:spLocks noGrp="1"/>
          </p:cNvSpPr>
          <p:nvPr>
            <p:ph type="body" sz="quarter" idx="17"/>
          </p:nvPr>
        </p:nvSpPr>
        <p:spPr>
          <a:xfrm>
            <a:off x="442914" y="1342800"/>
            <a:ext cx="7476886" cy="432000"/>
          </a:xfrm>
        </p:spPr>
        <p:txBody>
          <a:bodyPr anchor="t">
            <a:normAutofit/>
          </a:bodyPr>
          <a:lstStyle>
            <a:lvl1pPr marL="0" indent="0">
              <a:buNone/>
              <a:defRPr sz="2000" b="1">
                <a:solidFill>
                  <a:schemeClr val="accent1"/>
                </a:solidFill>
                <a:latin typeface="+mj-lt"/>
              </a:defRPr>
            </a:lvl1pPr>
          </a:lstStyle>
          <a:p>
            <a:pPr lvl="0"/>
            <a:r>
              <a:rPr lang="en-US"/>
              <a:t>Edit Master text styles</a:t>
            </a:r>
          </a:p>
        </p:txBody>
      </p:sp>
      <p:sp>
        <p:nvSpPr>
          <p:cNvPr id="7" name="Picture Placeholder 6">
            <a:extLst>
              <a:ext uri="{FF2B5EF4-FFF2-40B4-BE49-F238E27FC236}">
                <a16:creationId xmlns:a16="http://schemas.microsoft.com/office/drawing/2014/main" id="{F4112E69-8C20-4A11-8A3A-82B1D1C13FDE}"/>
              </a:ext>
            </a:extLst>
          </p:cNvPr>
          <p:cNvSpPr>
            <a:spLocks noGrp="1"/>
          </p:cNvSpPr>
          <p:nvPr>
            <p:ph type="pic" sz="quarter" idx="10"/>
          </p:nvPr>
        </p:nvSpPr>
        <p:spPr>
          <a:xfrm>
            <a:off x="8380802" y="0"/>
            <a:ext cx="3408815" cy="6858000"/>
          </a:xfrm>
          <a:custGeom>
            <a:avLst/>
            <a:gdLst>
              <a:gd name="connsiteX0" fmla="*/ 0 w 3408815"/>
              <a:gd name="connsiteY0" fmla="*/ 0 h 6858000"/>
              <a:gd name="connsiteX1" fmla="*/ 3159858 w 3408815"/>
              <a:gd name="connsiteY1" fmla="*/ 0 h 6858000"/>
              <a:gd name="connsiteX2" fmla="*/ 3023800 w 3408815"/>
              <a:gd name="connsiteY2" fmla="*/ 610131 h 6858000"/>
              <a:gd name="connsiteX3" fmla="*/ 3174853 w 3408815"/>
              <a:gd name="connsiteY3" fmla="*/ 493085 h 6858000"/>
              <a:gd name="connsiteX4" fmla="*/ 3174332 w 3408815"/>
              <a:gd name="connsiteY4" fmla="*/ 495433 h 6858000"/>
              <a:gd name="connsiteX5" fmla="*/ 2884694 w 3408815"/>
              <a:gd name="connsiteY5" fmla="*/ 2908481 h 6858000"/>
              <a:gd name="connsiteX6" fmla="*/ 2630100 w 3408815"/>
              <a:gd name="connsiteY6" fmla="*/ 3340586 h 6858000"/>
              <a:gd name="connsiteX7" fmla="*/ 3408815 w 3408815"/>
              <a:gd name="connsiteY7" fmla="*/ 6858000 h 6858000"/>
              <a:gd name="connsiteX8" fmla="*/ 0 w 3408815"/>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8815" h="6858000">
                <a:moveTo>
                  <a:pt x="0" y="0"/>
                </a:moveTo>
                <a:lnTo>
                  <a:pt x="3159858" y="0"/>
                </a:lnTo>
                <a:lnTo>
                  <a:pt x="3023800" y="610131"/>
                </a:lnTo>
                <a:lnTo>
                  <a:pt x="3174853" y="493085"/>
                </a:lnTo>
                <a:lnTo>
                  <a:pt x="3174332" y="495433"/>
                </a:lnTo>
                <a:lnTo>
                  <a:pt x="2884694" y="2908481"/>
                </a:lnTo>
                <a:lnTo>
                  <a:pt x="2630100" y="3340586"/>
                </a:lnTo>
                <a:lnTo>
                  <a:pt x="3408815" y="6858000"/>
                </a:lnTo>
                <a:lnTo>
                  <a:pt x="0" y="6858000"/>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4894398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picture lef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108E184-8719-48C3-AB1F-12CD8B5E9DEA}"/>
              </a:ext>
            </a:extLst>
          </p:cNvPr>
          <p:cNvSpPr/>
          <p:nvPr/>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nhaltsplatzhalter 6"/>
          <p:cNvSpPr>
            <a:spLocks noGrp="1"/>
          </p:cNvSpPr>
          <p:nvPr>
            <p:ph sz="quarter" idx="13" hasCustomPrompt="1"/>
          </p:nvPr>
        </p:nvSpPr>
        <p:spPr>
          <a:xfrm>
            <a:off x="4475181" y="1341437"/>
            <a:ext cx="6335732" cy="4967288"/>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itle 2">
            <a:extLst>
              <a:ext uri="{FF2B5EF4-FFF2-40B4-BE49-F238E27FC236}">
                <a16:creationId xmlns:a16="http://schemas.microsoft.com/office/drawing/2014/main" id="{D4FBD792-BBA8-4A8D-9B60-789C9757ABB4}"/>
              </a:ext>
            </a:extLst>
          </p:cNvPr>
          <p:cNvSpPr>
            <a:spLocks noGrp="1"/>
          </p:cNvSpPr>
          <p:nvPr>
            <p:ph type="title" hasCustomPrompt="1"/>
          </p:nvPr>
        </p:nvSpPr>
        <p:spPr>
          <a:xfrm>
            <a:off x="4475181" y="317661"/>
            <a:ext cx="6335732" cy="784061"/>
          </a:xfrm>
        </p:spPr>
        <p:txBody>
          <a:bodyPr/>
          <a:lstStyle>
            <a:lvl1pPr>
              <a:defRPr/>
            </a:lvl1pPr>
          </a:lstStyle>
          <a:p>
            <a:r>
              <a:rPr lang="en-US" dirty="0"/>
              <a:t>Click to edit </a:t>
            </a:r>
            <a:br>
              <a:rPr lang="en-US" dirty="0"/>
            </a:br>
            <a:r>
              <a:rPr lang="en-US" dirty="0"/>
              <a:t>Master title style</a:t>
            </a:r>
          </a:p>
        </p:txBody>
      </p:sp>
      <p:sp>
        <p:nvSpPr>
          <p:cNvPr id="7" name="Rectangle 6">
            <a:extLst>
              <a:ext uri="{FF2B5EF4-FFF2-40B4-BE49-F238E27FC236}">
                <a16:creationId xmlns:a16="http://schemas.microsoft.com/office/drawing/2014/main" id="{251DE645-24A4-4410-9629-695C20BF7C2F}"/>
              </a:ext>
            </a:extLst>
          </p:cNvPr>
          <p:cNvSpPr/>
          <p:nvPr/>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841BF36-36D5-4AC3-918D-FCDE94AD102E}"/>
              </a:ext>
            </a:extLst>
          </p:cNvPr>
          <p:cNvSpPr/>
          <p:nvPr/>
        </p:nvSpPr>
        <p:spPr>
          <a:xfrm>
            <a:off x="4277714" y="364332"/>
            <a:ext cx="762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10">
            <a:extLst>
              <a:ext uri="{FF2B5EF4-FFF2-40B4-BE49-F238E27FC236}">
                <a16:creationId xmlns:a16="http://schemas.microsoft.com/office/drawing/2014/main" id="{CD29B44A-57E4-436D-B227-39B1C97C7780}"/>
              </a:ext>
            </a:extLst>
          </p:cNvPr>
          <p:cNvSpPr/>
          <p:nvPr userDrawn="1"/>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23">
            <a:extLst>
              <a:ext uri="{FF2B5EF4-FFF2-40B4-BE49-F238E27FC236}">
                <a16:creationId xmlns:a16="http://schemas.microsoft.com/office/drawing/2014/main" id="{5B8CF453-B057-4706-8662-0475963D6E15}"/>
              </a:ext>
            </a:extLst>
          </p:cNvPr>
          <p:cNvSpPr>
            <a:spLocks noGrp="1"/>
          </p:cNvSpPr>
          <p:nvPr>
            <p:ph type="pic" sz="quarter" idx="14"/>
          </p:nvPr>
        </p:nvSpPr>
        <p:spPr>
          <a:xfrm>
            <a:off x="-3175" y="1587"/>
            <a:ext cx="3575609" cy="6858000"/>
          </a:xfrm>
          <a:custGeom>
            <a:avLst/>
            <a:gdLst>
              <a:gd name="connsiteX0" fmla="*/ 0 w 3575609"/>
              <a:gd name="connsiteY0" fmla="*/ 0 h 6858000"/>
              <a:gd name="connsiteX1" fmla="*/ 3070396 w 3575609"/>
              <a:gd name="connsiteY1" fmla="*/ 545053 h 6858000"/>
              <a:gd name="connsiteX2" fmla="*/ 3575609 w 3575609"/>
              <a:gd name="connsiteY2" fmla="*/ 3248472 h 6858000"/>
              <a:gd name="connsiteX3" fmla="*/ 3228494 w 3575609"/>
              <a:gd name="connsiteY3" fmla="*/ 5579179 h 6858000"/>
              <a:gd name="connsiteX4" fmla="*/ 1728322 w 3575609"/>
              <a:gd name="connsiteY4" fmla="*/ 6858000 h 6858000"/>
              <a:gd name="connsiteX5" fmla="*/ 0 w 3575609"/>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609" h="6858000">
                <a:moveTo>
                  <a:pt x="0" y="0"/>
                </a:moveTo>
                <a:lnTo>
                  <a:pt x="3070396" y="545053"/>
                </a:lnTo>
                <a:lnTo>
                  <a:pt x="3575609" y="3248472"/>
                </a:lnTo>
                <a:lnTo>
                  <a:pt x="3228494" y="5579179"/>
                </a:lnTo>
                <a:lnTo>
                  <a:pt x="1728322" y="6858000"/>
                </a:lnTo>
                <a:lnTo>
                  <a:pt x="0" y="6858000"/>
                </a:lnTo>
                <a:close/>
              </a:path>
            </a:pathLst>
          </a:custGeom>
        </p:spPr>
        <p:txBody>
          <a:bodyPr wrap="square">
            <a:noAutofit/>
          </a:bodyPr>
          <a:lstStyle/>
          <a:p>
            <a:endParaRPr lang="en-US"/>
          </a:p>
        </p:txBody>
      </p:sp>
      <p:grpSp>
        <p:nvGrpSpPr>
          <p:cNvPr id="25" name="Group 24">
            <a:extLst>
              <a:ext uri="{FF2B5EF4-FFF2-40B4-BE49-F238E27FC236}">
                <a16:creationId xmlns:a16="http://schemas.microsoft.com/office/drawing/2014/main" id="{9CEFB45E-E530-4FD3-A96A-09C31B2B314E}"/>
              </a:ext>
            </a:extLst>
          </p:cNvPr>
          <p:cNvGrpSpPr/>
          <p:nvPr userDrawn="1"/>
        </p:nvGrpSpPr>
        <p:grpSpPr>
          <a:xfrm>
            <a:off x="-3176" y="1588"/>
            <a:ext cx="3914776" cy="6858000"/>
            <a:chOff x="-3176" y="1588"/>
            <a:chExt cx="3914776" cy="6858000"/>
          </a:xfrm>
        </p:grpSpPr>
        <p:sp>
          <p:nvSpPr>
            <p:cNvPr id="26" name="Freeform 14">
              <a:extLst>
                <a:ext uri="{FF2B5EF4-FFF2-40B4-BE49-F238E27FC236}">
                  <a16:creationId xmlns:a16="http://schemas.microsoft.com/office/drawing/2014/main" id="{59EBA989-95BD-44E5-9FFB-0F1C88079906}"/>
                </a:ext>
              </a:extLst>
            </p:cNvPr>
            <p:cNvSpPr>
              <a:spLocks/>
            </p:cNvSpPr>
            <p:nvPr userDrawn="1"/>
          </p:nvSpPr>
          <p:spPr bwMode="auto">
            <a:xfrm>
              <a:off x="-3176" y="1588"/>
              <a:ext cx="3088343" cy="548239"/>
            </a:xfrm>
            <a:custGeom>
              <a:avLst/>
              <a:gdLst>
                <a:gd name="T0" fmla="*/ 1719 w 1719"/>
                <a:gd name="T1" fmla="*/ 328 h 328"/>
                <a:gd name="T2" fmla="*/ 1638 w 1719"/>
                <a:gd name="T3" fmla="*/ 0 h 328"/>
                <a:gd name="T4" fmla="*/ 0 w 1719"/>
                <a:gd name="T5" fmla="*/ 0 h 328"/>
                <a:gd name="T6" fmla="*/ 1719 w 1719"/>
                <a:gd name="T7" fmla="*/ 328 h 328"/>
              </a:gdLst>
              <a:ahLst/>
              <a:cxnLst>
                <a:cxn ang="0">
                  <a:pos x="T0" y="T1"/>
                </a:cxn>
                <a:cxn ang="0">
                  <a:pos x="T2" y="T3"/>
                </a:cxn>
                <a:cxn ang="0">
                  <a:pos x="T4" y="T5"/>
                </a:cxn>
                <a:cxn ang="0">
                  <a:pos x="T6" y="T7"/>
                </a:cxn>
              </a:cxnLst>
              <a:rect l="0" t="0" r="r" b="b"/>
              <a:pathLst>
                <a:path w="1719" h="328">
                  <a:moveTo>
                    <a:pt x="1719" y="328"/>
                  </a:moveTo>
                  <a:lnTo>
                    <a:pt x="1638" y="0"/>
                  </a:lnTo>
                  <a:lnTo>
                    <a:pt x="0" y="0"/>
                  </a:lnTo>
                  <a:lnTo>
                    <a:pt x="1719" y="32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48D11407-27F7-46B1-A429-3F0550FA4D2F}"/>
                </a:ext>
              </a:extLst>
            </p:cNvPr>
            <p:cNvSpPr>
              <a:spLocks/>
            </p:cNvSpPr>
            <p:nvPr userDrawn="1"/>
          </p:nvSpPr>
          <p:spPr bwMode="auto">
            <a:xfrm>
              <a:off x="2939643" y="1588"/>
              <a:ext cx="930635" cy="3256004"/>
            </a:xfrm>
            <a:custGeom>
              <a:avLst/>
              <a:gdLst>
                <a:gd name="T0" fmla="*/ 518 w 518"/>
                <a:gd name="T1" fmla="*/ 747 h 1948"/>
                <a:gd name="T2" fmla="*/ 0 w 518"/>
                <a:gd name="T3" fmla="*/ 0 h 1948"/>
                <a:gd name="T4" fmla="*/ 51 w 518"/>
                <a:gd name="T5" fmla="*/ 211 h 1948"/>
                <a:gd name="T6" fmla="*/ 353 w 518"/>
                <a:gd name="T7" fmla="*/ 1948 h 1948"/>
                <a:gd name="T8" fmla="*/ 518 w 518"/>
                <a:gd name="T9" fmla="*/ 747 h 1948"/>
              </a:gdLst>
              <a:ahLst/>
              <a:cxnLst>
                <a:cxn ang="0">
                  <a:pos x="T0" y="T1"/>
                </a:cxn>
                <a:cxn ang="0">
                  <a:pos x="T2" y="T3"/>
                </a:cxn>
                <a:cxn ang="0">
                  <a:pos x="T4" y="T5"/>
                </a:cxn>
                <a:cxn ang="0">
                  <a:pos x="T6" y="T7"/>
                </a:cxn>
                <a:cxn ang="0">
                  <a:pos x="T8" y="T9"/>
                </a:cxn>
              </a:cxnLst>
              <a:rect l="0" t="0" r="r" b="b"/>
              <a:pathLst>
                <a:path w="518" h="1948">
                  <a:moveTo>
                    <a:pt x="518" y="747"/>
                  </a:moveTo>
                  <a:lnTo>
                    <a:pt x="0" y="0"/>
                  </a:lnTo>
                  <a:lnTo>
                    <a:pt x="51" y="211"/>
                  </a:lnTo>
                  <a:lnTo>
                    <a:pt x="353" y="1948"/>
                  </a:lnTo>
                  <a:lnTo>
                    <a:pt x="518" y="747"/>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6">
              <a:extLst>
                <a:ext uri="{FF2B5EF4-FFF2-40B4-BE49-F238E27FC236}">
                  <a16:creationId xmlns:a16="http://schemas.microsoft.com/office/drawing/2014/main" id="{18501D1D-CFFF-446C-9ABF-A45B6BCC7BA2}"/>
                </a:ext>
              </a:extLst>
            </p:cNvPr>
            <p:cNvSpPr>
              <a:spLocks/>
            </p:cNvSpPr>
            <p:nvPr userDrawn="1"/>
          </p:nvSpPr>
          <p:spPr bwMode="auto">
            <a:xfrm>
              <a:off x="3227098" y="3257592"/>
              <a:ext cx="684502" cy="2321657"/>
            </a:xfrm>
            <a:custGeom>
              <a:avLst/>
              <a:gdLst>
                <a:gd name="T0" fmla="*/ 381 w 381"/>
                <a:gd name="T1" fmla="*/ 1041 h 1389"/>
                <a:gd name="T2" fmla="*/ 0 w 381"/>
                <a:gd name="T3" fmla="*/ 1389 h 1389"/>
                <a:gd name="T4" fmla="*/ 193 w 381"/>
                <a:gd name="T5" fmla="*/ 0 h 1389"/>
                <a:gd name="T6" fmla="*/ 381 w 381"/>
                <a:gd name="T7" fmla="*/ 1041 h 1389"/>
              </a:gdLst>
              <a:ahLst/>
              <a:cxnLst>
                <a:cxn ang="0">
                  <a:pos x="T0" y="T1"/>
                </a:cxn>
                <a:cxn ang="0">
                  <a:pos x="T2" y="T3"/>
                </a:cxn>
                <a:cxn ang="0">
                  <a:pos x="T4" y="T5"/>
                </a:cxn>
                <a:cxn ang="0">
                  <a:pos x="T6" y="T7"/>
                </a:cxn>
              </a:cxnLst>
              <a:rect l="0" t="0" r="r" b="b"/>
              <a:pathLst>
                <a:path w="381" h="1389">
                  <a:moveTo>
                    <a:pt x="381" y="1041"/>
                  </a:moveTo>
                  <a:lnTo>
                    <a:pt x="0" y="1389"/>
                  </a:lnTo>
                  <a:lnTo>
                    <a:pt x="193" y="0"/>
                  </a:lnTo>
                  <a:lnTo>
                    <a:pt x="381" y="104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C9DA93C9-A065-4597-9BED-6A4B7C3BEEB7}"/>
                </a:ext>
              </a:extLst>
            </p:cNvPr>
            <p:cNvSpPr>
              <a:spLocks/>
            </p:cNvSpPr>
            <p:nvPr userDrawn="1"/>
          </p:nvSpPr>
          <p:spPr bwMode="auto">
            <a:xfrm>
              <a:off x="1725146" y="5579250"/>
              <a:ext cx="1501951" cy="1280338"/>
            </a:xfrm>
            <a:custGeom>
              <a:avLst/>
              <a:gdLst>
                <a:gd name="T0" fmla="*/ 0 w 836"/>
                <a:gd name="T1" fmla="*/ 766 h 766"/>
                <a:gd name="T2" fmla="*/ 729 w 836"/>
                <a:gd name="T3" fmla="*/ 766 h 766"/>
                <a:gd name="T4" fmla="*/ 836 w 836"/>
                <a:gd name="T5" fmla="*/ 0 h 766"/>
                <a:gd name="T6" fmla="*/ 0 w 836"/>
                <a:gd name="T7" fmla="*/ 766 h 766"/>
              </a:gdLst>
              <a:ahLst/>
              <a:cxnLst>
                <a:cxn ang="0">
                  <a:pos x="T0" y="T1"/>
                </a:cxn>
                <a:cxn ang="0">
                  <a:pos x="T2" y="T3"/>
                </a:cxn>
                <a:cxn ang="0">
                  <a:pos x="T4" y="T5"/>
                </a:cxn>
                <a:cxn ang="0">
                  <a:pos x="T6" y="T7"/>
                </a:cxn>
              </a:cxnLst>
              <a:rect l="0" t="0" r="r" b="b"/>
              <a:pathLst>
                <a:path w="836" h="766">
                  <a:moveTo>
                    <a:pt x="0" y="766"/>
                  </a:moveTo>
                  <a:lnTo>
                    <a:pt x="729" y="766"/>
                  </a:lnTo>
                  <a:lnTo>
                    <a:pt x="836" y="0"/>
                  </a:lnTo>
                  <a:lnTo>
                    <a:pt x="0" y="76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174106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header, content and picture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FBD792-BBA8-4A8D-9B60-789C9757ABB4}"/>
              </a:ext>
            </a:extLst>
          </p:cNvPr>
          <p:cNvSpPr>
            <a:spLocks noGrp="1"/>
          </p:cNvSpPr>
          <p:nvPr>
            <p:ph type="title" hasCustomPrompt="1"/>
          </p:nvPr>
        </p:nvSpPr>
        <p:spPr>
          <a:xfrm>
            <a:off x="4475181" y="317661"/>
            <a:ext cx="6335732" cy="784061"/>
          </a:xfrm>
        </p:spPr>
        <p:txBody>
          <a:bodyPr/>
          <a:lstStyle>
            <a:lvl1pPr>
              <a:defRPr/>
            </a:lvl1pPr>
          </a:lstStyle>
          <a:p>
            <a:r>
              <a:rPr lang="en-US" dirty="0"/>
              <a:t>Click to edit </a:t>
            </a:r>
            <a:br>
              <a:rPr lang="en-US" dirty="0"/>
            </a:br>
            <a:r>
              <a:rPr lang="en-US" dirty="0"/>
              <a:t>Master title style</a:t>
            </a:r>
          </a:p>
        </p:txBody>
      </p:sp>
      <p:sp>
        <p:nvSpPr>
          <p:cNvPr id="7" name="Inhaltsplatzhalter 6">
            <a:extLst>
              <a:ext uri="{FF2B5EF4-FFF2-40B4-BE49-F238E27FC236}">
                <a16:creationId xmlns:a16="http://schemas.microsoft.com/office/drawing/2014/main" id="{B5918646-B0B6-4E26-8700-1B438F12B16B}"/>
              </a:ext>
            </a:extLst>
          </p:cNvPr>
          <p:cNvSpPr>
            <a:spLocks noGrp="1"/>
          </p:cNvSpPr>
          <p:nvPr>
            <p:ph sz="quarter" idx="15" hasCustomPrompt="1"/>
          </p:nvPr>
        </p:nvSpPr>
        <p:spPr>
          <a:xfrm>
            <a:off x="4475181" y="1794141"/>
            <a:ext cx="6335732"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a:extLst>
              <a:ext uri="{FF2B5EF4-FFF2-40B4-BE49-F238E27FC236}">
                <a16:creationId xmlns:a16="http://schemas.microsoft.com/office/drawing/2014/main" id="{168B2A05-49A4-4930-9FF4-E4556FF9505E}"/>
              </a:ext>
            </a:extLst>
          </p:cNvPr>
          <p:cNvSpPr>
            <a:spLocks noGrp="1"/>
          </p:cNvSpPr>
          <p:nvPr>
            <p:ph type="body" sz="quarter" idx="17"/>
          </p:nvPr>
        </p:nvSpPr>
        <p:spPr>
          <a:xfrm>
            <a:off x="4475182" y="1342800"/>
            <a:ext cx="6335732" cy="432000"/>
          </a:xfrm>
        </p:spPr>
        <p:txBody>
          <a:bodyPr anchor="t">
            <a:normAutofit/>
          </a:bodyPr>
          <a:lstStyle>
            <a:lvl1pPr marL="0" indent="0">
              <a:buNone/>
              <a:defRPr sz="2000" b="1">
                <a:solidFill>
                  <a:schemeClr val="accent1"/>
                </a:solidFill>
                <a:latin typeface="+mj-lt"/>
              </a:defRPr>
            </a:lvl1pPr>
          </a:lstStyle>
          <a:p>
            <a:pPr lvl="0"/>
            <a:r>
              <a:rPr lang="en-US"/>
              <a:t>Edit Master text styles</a:t>
            </a:r>
          </a:p>
        </p:txBody>
      </p:sp>
      <p:sp>
        <p:nvSpPr>
          <p:cNvPr id="2" name="Rectangle 1">
            <a:extLst>
              <a:ext uri="{FF2B5EF4-FFF2-40B4-BE49-F238E27FC236}">
                <a16:creationId xmlns:a16="http://schemas.microsoft.com/office/drawing/2014/main" id="{DD8D63A6-E9A9-4D6D-A182-EF480A428F7A}"/>
              </a:ext>
            </a:extLst>
          </p:cNvPr>
          <p:cNvSpPr/>
          <p:nvPr/>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5933989-24F5-4956-A56D-F20718DBFA91}"/>
              </a:ext>
            </a:extLst>
          </p:cNvPr>
          <p:cNvSpPr/>
          <p:nvPr/>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74AE87-A4C7-4A22-8F12-8C18AF100541}"/>
              </a:ext>
            </a:extLst>
          </p:cNvPr>
          <p:cNvSpPr/>
          <p:nvPr/>
        </p:nvSpPr>
        <p:spPr>
          <a:xfrm>
            <a:off x="4277714" y="364333"/>
            <a:ext cx="76200" cy="6268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ectangle 8">
            <a:extLst>
              <a:ext uri="{FF2B5EF4-FFF2-40B4-BE49-F238E27FC236}">
                <a16:creationId xmlns:a16="http://schemas.microsoft.com/office/drawing/2014/main" id="{EB6783C9-F0BE-4979-BDBC-8C08BCF1253F}"/>
              </a:ext>
            </a:extLst>
          </p:cNvPr>
          <p:cNvSpPr/>
          <p:nvPr userDrawn="1"/>
        </p:nvSpPr>
        <p:spPr>
          <a:xfrm>
            <a:off x="0" y="0"/>
            <a:ext cx="698500" cy="161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E017325-C4EE-4F7B-8567-EB291390AD2E}"/>
              </a:ext>
            </a:extLst>
          </p:cNvPr>
          <p:cNvSpPr/>
          <p:nvPr userDrawn="1"/>
        </p:nvSpPr>
        <p:spPr>
          <a:xfrm>
            <a:off x="4277714" y="364332"/>
            <a:ext cx="762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Picture Placeholder 13">
            <a:extLst>
              <a:ext uri="{FF2B5EF4-FFF2-40B4-BE49-F238E27FC236}">
                <a16:creationId xmlns:a16="http://schemas.microsoft.com/office/drawing/2014/main" id="{4EE0BCB7-5702-42A1-808E-0184FAAE7FE2}"/>
              </a:ext>
            </a:extLst>
          </p:cNvPr>
          <p:cNvSpPr>
            <a:spLocks noGrp="1"/>
          </p:cNvSpPr>
          <p:nvPr>
            <p:ph type="pic" sz="quarter" idx="14"/>
          </p:nvPr>
        </p:nvSpPr>
        <p:spPr>
          <a:xfrm>
            <a:off x="-3175" y="1587"/>
            <a:ext cx="3575609" cy="6858000"/>
          </a:xfrm>
          <a:custGeom>
            <a:avLst/>
            <a:gdLst>
              <a:gd name="connsiteX0" fmla="*/ 0 w 3575609"/>
              <a:gd name="connsiteY0" fmla="*/ 0 h 6858000"/>
              <a:gd name="connsiteX1" fmla="*/ 3070396 w 3575609"/>
              <a:gd name="connsiteY1" fmla="*/ 545053 h 6858000"/>
              <a:gd name="connsiteX2" fmla="*/ 3575609 w 3575609"/>
              <a:gd name="connsiteY2" fmla="*/ 3248472 h 6858000"/>
              <a:gd name="connsiteX3" fmla="*/ 3228494 w 3575609"/>
              <a:gd name="connsiteY3" fmla="*/ 5579179 h 6858000"/>
              <a:gd name="connsiteX4" fmla="*/ 1728322 w 3575609"/>
              <a:gd name="connsiteY4" fmla="*/ 6858000 h 6858000"/>
              <a:gd name="connsiteX5" fmla="*/ 0 w 3575609"/>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609" h="6858000">
                <a:moveTo>
                  <a:pt x="0" y="0"/>
                </a:moveTo>
                <a:lnTo>
                  <a:pt x="3070396" y="545053"/>
                </a:lnTo>
                <a:lnTo>
                  <a:pt x="3575609" y="3248472"/>
                </a:lnTo>
                <a:lnTo>
                  <a:pt x="3228494" y="5579179"/>
                </a:lnTo>
                <a:lnTo>
                  <a:pt x="1728322" y="6858000"/>
                </a:lnTo>
                <a:lnTo>
                  <a:pt x="0" y="6858000"/>
                </a:lnTo>
                <a:close/>
              </a:path>
            </a:pathLst>
          </a:custGeom>
        </p:spPr>
        <p:txBody>
          <a:bodyPr wrap="square">
            <a:noAutofit/>
          </a:bodyPr>
          <a:lstStyle/>
          <a:p>
            <a:endParaRPr lang="en-US"/>
          </a:p>
        </p:txBody>
      </p:sp>
      <p:grpSp>
        <p:nvGrpSpPr>
          <p:cNvPr id="15" name="Group 14">
            <a:extLst>
              <a:ext uri="{FF2B5EF4-FFF2-40B4-BE49-F238E27FC236}">
                <a16:creationId xmlns:a16="http://schemas.microsoft.com/office/drawing/2014/main" id="{E778C7E9-2EE8-4B11-979F-EF770D80B3D3}"/>
              </a:ext>
            </a:extLst>
          </p:cNvPr>
          <p:cNvGrpSpPr/>
          <p:nvPr userDrawn="1"/>
        </p:nvGrpSpPr>
        <p:grpSpPr>
          <a:xfrm>
            <a:off x="-3176" y="1588"/>
            <a:ext cx="3914776" cy="6858000"/>
            <a:chOff x="-3176" y="1588"/>
            <a:chExt cx="3914776" cy="6858000"/>
          </a:xfrm>
        </p:grpSpPr>
        <p:sp>
          <p:nvSpPr>
            <p:cNvPr id="16" name="Freeform 14">
              <a:extLst>
                <a:ext uri="{FF2B5EF4-FFF2-40B4-BE49-F238E27FC236}">
                  <a16:creationId xmlns:a16="http://schemas.microsoft.com/office/drawing/2014/main" id="{C07F8AA8-F568-450D-8961-BB3CDFDDA30E}"/>
                </a:ext>
              </a:extLst>
            </p:cNvPr>
            <p:cNvSpPr>
              <a:spLocks/>
            </p:cNvSpPr>
            <p:nvPr userDrawn="1"/>
          </p:nvSpPr>
          <p:spPr bwMode="auto">
            <a:xfrm>
              <a:off x="-3176" y="1588"/>
              <a:ext cx="3088343" cy="548239"/>
            </a:xfrm>
            <a:custGeom>
              <a:avLst/>
              <a:gdLst>
                <a:gd name="T0" fmla="*/ 1719 w 1719"/>
                <a:gd name="T1" fmla="*/ 328 h 328"/>
                <a:gd name="T2" fmla="*/ 1638 w 1719"/>
                <a:gd name="T3" fmla="*/ 0 h 328"/>
                <a:gd name="T4" fmla="*/ 0 w 1719"/>
                <a:gd name="T5" fmla="*/ 0 h 328"/>
                <a:gd name="T6" fmla="*/ 1719 w 1719"/>
                <a:gd name="T7" fmla="*/ 328 h 328"/>
              </a:gdLst>
              <a:ahLst/>
              <a:cxnLst>
                <a:cxn ang="0">
                  <a:pos x="T0" y="T1"/>
                </a:cxn>
                <a:cxn ang="0">
                  <a:pos x="T2" y="T3"/>
                </a:cxn>
                <a:cxn ang="0">
                  <a:pos x="T4" y="T5"/>
                </a:cxn>
                <a:cxn ang="0">
                  <a:pos x="T6" y="T7"/>
                </a:cxn>
              </a:cxnLst>
              <a:rect l="0" t="0" r="r" b="b"/>
              <a:pathLst>
                <a:path w="1719" h="328">
                  <a:moveTo>
                    <a:pt x="1719" y="328"/>
                  </a:moveTo>
                  <a:lnTo>
                    <a:pt x="1638" y="0"/>
                  </a:lnTo>
                  <a:lnTo>
                    <a:pt x="0" y="0"/>
                  </a:lnTo>
                  <a:lnTo>
                    <a:pt x="1719" y="32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5">
              <a:extLst>
                <a:ext uri="{FF2B5EF4-FFF2-40B4-BE49-F238E27FC236}">
                  <a16:creationId xmlns:a16="http://schemas.microsoft.com/office/drawing/2014/main" id="{336D31FB-1992-4715-86FF-C2B1CA2F8076}"/>
                </a:ext>
              </a:extLst>
            </p:cNvPr>
            <p:cNvSpPr>
              <a:spLocks/>
            </p:cNvSpPr>
            <p:nvPr userDrawn="1"/>
          </p:nvSpPr>
          <p:spPr bwMode="auto">
            <a:xfrm>
              <a:off x="2939643" y="1588"/>
              <a:ext cx="930635" cy="3256004"/>
            </a:xfrm>
            <a:custGeom>
              <a:avLst/>
              <a:gdLst>
                <a:gd name="T0" fmla="*/ 518 w 518"/>
                <a:gd name="T1" fmla="*/ 747 h 1948"/>
                <a:gd name="T2" fmla="*/ 0 w 518"/>
                <a:gd name="T3" fmla="*/ 0 h 1948"/>
                <a:gd name="T4" fmla="*/ 51 w 518"/>
                <a:gd name="T5" fmla="*/ 211 h 1948"/>
                <a:gd name="T6" fmla="*/ 353 w 518"/>
                <a:gd name="T7" fmla="*/ 1948 h 1948"/>
                <a:gd name="T8" fmla="*/ 518 w 518"/>
                <a:gd name="T9" fmla="*/ 747 h 1948"/>
              </a:gdLst>
              <a:ahLst/>
              <a:cxnLst>
                <a:cxn ang="0">
                  <a:pos x="T0" y="T1"/>
                </a:cxn>
                <a:cxn ang="0">
                  <a:pos x="T2" y="T3"/>
                </a:cxn>
                <a:cxn ang="0">
                  <a:pos x="T4" y="T5"/>
                </a:cxn>
                <a:cxn ang="0">
                  <a:pos x="T6" y="T7"/>
                </a:cxn>
                <a:cxn ang="0">
                  <a:pos x="T8" y="T9"/>
                </a:cxn>
              </a:cxnLst>
              <a:rect l="0" t="0" r="r" b="b"/>
              <a:pathLst>
                <a:path w="518" h="1948">
                  <a:moveTo>
                    <a:pt x="518" y="747"/>
                  </a:moveTo>
                  <a:lnTo>
                    <a:pt x="0" y="0"/>
                  </a:lnTo>
                  <a:lnTo>
                    <a:pt x="51" y="211"/>
                  </a:lnTo>
                  <a:lnTo>
                    <a:pt x="353" y="1948"/>
                  </a:lnTo>
                  <a:lnTo>
                    <a:pt x="518" y="747"/>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6">
              <a:extLst>
                <a:ext uri="{FF2B5EF4-FFF2-40B4-BE49-F238E27FC236}">
                  <a16:creationId xmlns:a16="http://schemas.microsoft.com/office/drawing/2014/main" id="{3455B48B-44B6-4B41-8756-ACB713215741}"/>
                </a:ext>
              </a:extLst>
            </p:cNvPr>
            <p:cNvSpPr>
              <a:spLocks/>
            </p:cNvSpPr>
            <p:nvPr userDrawn="1"/>
          </p:nvSpPr>
          <p:spPr bwMode="auto">
            <a:xfrm>
              <a:off x="3227098" y="3257592"/>
              <a:ext cx="684502" cy="2321657"/>
            </a:xfrm>
            <a:custGeom>
              <a:avLst/>
              <a:gdLst>
                <a:gd name="T0" fmla="*/ 381 w 381"/>
                <a:gd name="T1" fmla="*/ 1041 h 1389"/>
                <a:gd name="T2" fmla="*/ 0 w 381"/>
                <a:gd name="T3" fmla="*/ 1389 h 1389"/>
                <a:gd name="T4" fmla="*/ 193 w 381"/>
                <a:gd name="T5" fmla="*/ 0 h 1389"/>
                <a:gd name="T6" fmla="*/ 381 w 381"/>
                <a:gd name="T7" fmla="*/ 1041 h 1389"/>
              </a:gdLst>
              <a:ahLst/>
              <a:cxnLst>
                <a:cxn ang="0">
                  <a:pos x="T0" y="T1"/>
                </a:cxn>
                <a:cxn ang="0">
                  <a:pos x="T2" y="T3"/>
                </a:cxn>
                <a:cxn ang="0">
                  <a:pos x="T4" y="T5"/>
                </a:cxn>
                <a:cxn ang="0">
                  <a:pos x="T6" y="T7"/>
                </a:cxn>
              </a:cxnLst>
              <a:rect l="0" t="0" r="r" b="b"/>
              <a:pathLst>
                <a:path w="381" h="1389">
                  <a:moveTo>
                    <a:pt x="381" y="1041"/>
                  </a:moveTo>
                  <a:lnTo>
                    <a:pt x="0" y="1389"/>
                  </a:lnTo>
                  <a:lnTo>
                    <a:pt x="193" y="0"/>
                  </a:lnTo>
                  <a:lnTo>
                    <a:pt x="381" y="104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7">
              <a:extLst>
                <a:ext uri="{FF2B5EF4-FFF2-40B4-BE49-F238E27FC236}">
                  <a16:creationId xmlns:a16="http://schemas.microsoft.com/office/drawing/2014/main" id="{D1B7D2AE-5903-47E8-AF57-B16835FD1510}"/>
                </a:ext>
              </a:extLst>
            </p:cNvPr>
            <p:cNvSpPr>
              <a:spLocks/>
            </p:cNvSpPr>
            <p:nvPr userDrawn="1"/>
          </p:nvSpPr>
          <p:spPr bwMode="auto">
            <a:xfrm>
              <a:off x="1725146" y="5579250"/>
              <a:ext cx="1501951" cy="1280338"/>
            </a:xfrm>
            <a:custGeom>
              <a:avLst/>
              <a:gdLst>
                <a:gd name="T0" fmla="*/ 0 w 836"/>
                <a:gd name="T1" fmla="*/ 766 h 766"/>
                <a:gd name="T2" fmla="*/ 729 w 836"/>
                <a:gd name="T3" fmla="*/ 766 h 766"/>
                <a:gd name="T4" fmla="*/ 836 w 836"/>
                <a:gd name="T5" fmla="*/ 0 h 766"/>
                <a:gd name="T6" fmla="*/ 0 w 836"/>
                <a:gd name="T7" fmla="*/ 766 h 766"/>
              </a:gdLst>
              <a:ahLst/>
              <a:cxnLst>
                <a:cxn ang="0">
                  <a:pos x="T0" y="T1"/>
                </a:cxn>
                <a:cxn ang="0">
                  <a:pos x="T2" y="T3"/>
                </a:cxn>
                <a:cxn ang="0">
                  <a:pos x="T4" y="T5"/>
                </a:cxn>
                <a:cxn ang="0">
                  <a:pos x="T6" y="T7"/>
                </a:cxn>
              </a:cxnLst>
              <a:rect l="0" t="0" r="r" b="b"/>
              <a:pathLst>
                <a:path w="836" h="766">
                  <a:moveTo>
                    <a:pt x="0" y="766"/>
                  </a:moveTo>
                  <a:lnTo>
                    <a:pt x="729" y="766"/>
                  </a:lnTo>
                  <a:lnTo>
                    <a:pt x="836" y="0"/>
                  </a:lnTo>
                  <a:lnTo>
                    <a:pt x="0" y="76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63226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Our Agenda">
    <p:bg>
      <p:bgPr>
        <a:gradFill>
          <a:gsLst>
            <a:gs pos="5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sp>
        <p:nvSpPr>
          <p:cNvPr id="28" name="Freeform 44">
            <a:extLst>
              <a:ext uri="{FF2B5EF4-FFF2-40B4-BE49-F238E27FC236}">
                <a16:creationId xmlns:a16="http://schemas.microsoft.com/office/drawing/2014/main" id="{69196B9C-0D13-41C0-B8B0-CDC040CD2C61}"/>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chemeClr val="accent1">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45">
            <a:extLst>
              <a:ext uri="{FF2B5EF4-FFF2-40B4-BE49-F238E27FC236}">
                <a16:creationId xmlns:a16="http://schemas.microsoft.com/office/drawing/2014/main" id="{FA26C795-A228-45BC-9FD6-9F4B38F5758E}"/>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BDB99AAB-A718-4449-AB16-AE61CF4E51BD}"/>
              </a:ext>
            </a:extLst>
          </p:cNvPr>
          <p:cNvSpPr>
            <a:spLocks noGrp="1"/>
          </p:cNvSpPr>
          <p:nvPr>
            <p:ph type="title" hasCustomPrompt="1"/>
          </p:nvPr>
        </p:nvSpPr>
        <p:spPr>
          <a:xfrm>
            <a:off x="442914" y="317661"/>
            <a:ext cx="10367999" cy="784061"/>
          </a:xfrm>
        </p:spPr>
        <p:txBody>
          <a:bodyPr/>
          <a:lstStyle>
            <a:lvl1pPr>
              <a:defRPr>
                <a:solidFill>
                  <a:schemeClr val="bg1"/>
                </a:solidFill>
              </a:defRPr>
            </a:lvl1pPr>
          </a:lstStyle>
          <a:p>
            <a:r>
              <a:rPr lang="en-US" dirty="0"/>
              <a:t>Click to edit Master</a:t>
            </a:r>
            <a:br>
              <a:rPr lang="en-US" dirty="0"/>
            </a:br>
            <a:r>
              <a:rPr lang="en-US" dirty="0"/>
              <a:t> title style</a:t>
            </a:r>
          </a:p>
        </p:txBody>
      </p:sp>
      <p:sp>
        <p:nvSpPr>
          <p:cNvPr id="8" name="Text Placeholder 3">
            <a:extLst>
              <a:ext uri="{FF2B5EF4-FFF2-40B4-BE49-F238E27FC236}">
                <a16:creationId xmlns:a16="http://schemas.microsoft.com/office/drawing/2014/main" id="{1C0A2E23-A9FB-4DCE-BDDE-21E279ABE4A6}"/>
              </a:ext>
            </a:extLst>
          </p:cNvPr>
          <p:cNvSpPr>
            <a:spLocks noGrp="1"/>
          </p:cNvSpPr>
          <p:nvPr>
            <p:ph type="body" sz="quarter" idx="14"/>
          </p:nvPr>
        </p:nvSpPr>
        <p:spPr>
          <a:xfrm>
            <a:off x="442913" y="1341436"/>
            <a:ext cx="5194094" cy="4967287"/>
          </a:xfrm>
        </p:spPr>
        <p:txBody>
          <a:bodyPr>
            <a:normAutofit/>
          </a:bodyPr>
          <a:lstStyle>
            <a:lvl1pPr marL="0" indent="0">
              <a:buNone/>
              <a:defRPr sz="2800">
                <a:solidFill>
                  <a:schemeClr val="bg1"/>
                </a:solidFill>
              </a:defRPr>
            </a:lvl1pPr>
            <a:lvl2pPr>
              <a:defRPr sz="2000"/>
            </a:lvl2pPr>
            <a:lvl3pPr>
              <a:defRPr sz="1800"/>
            </a:lvl3pPr>
            <a:lvl4pPr>
              <a:defRPr sz="1600"/>
            </a:lvl4pPr>
            <a:lvl5pPr>
              <a:defRPr sz="1600"/>
            </a:lvl5pPr>
          </a:lstStyle>
          <a:p>
            <a:pPr lvl="0"/>
            <a:r>
              <a:rPr lang="en-US"/>
              <a:t>Edit Master text styles</a:t>
            </a:r>
          </a:p>
        </p:txBody>
      </p:sp>
      <p:sp>
        <p:nvSpPr>
          <p:cNvPr id="10" name="Freeform 45">
            <a:extLst>
              <a:ext uri="{FF2B5EF4-FFF2-40B4-BE49-F238E27FC236}">
                <a16:creationId xmlns:a16="http://schemas.microsoft.com/office/drawing/2014/main" id="{3E472225-1D27-4171-9A1F-DC18E9984C54}"/>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a:extLst>
              <a:ext uri="{FF2B5EF4-FFF2-40B4-BE49-F238E27FC236}">
                <a16:creationId xmlns:a16="http://schemas.microsoft.com/office/drawing/2014/main" id="{6E286623-E934-4C3F-85AA-1B9B6C9F44EF}"/>
              </a:ext>
            </a:extLst>
          </p:cNvPr>
          <p:cNvSpPr/>
          <p:nvPr/>
        </p:nvSpPr>
        <p:spPr>
          <a:xfrm>
            <a:off x="240702" y="360844"/>
            <a:ext cx="76200" cy="626849"/>
          </a:xfrm>
          <a:prstGeom prst="rect">
            <a:avLst/>
          </a:pr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Freeform 45">
            <a:extLst>
              <a:ext uri="{FF2B5EF4-FFF2-40B4-BE49-F238E27FC236}">
                <a16:creationId xmlns:a16="http://schemas.microsoft.com/office/drawing/2014/main" id="{8ABE9E57-EEE0-4438-BA8E-527B3E7B117C}"/>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a:extLst>
              <a:ext uri="{FF2B5EF4-FFF2-40B4-BE49-F238E27FC236}">
                <a16:creationId xmlns:a16="http://schemas.microsoft.com/office/drawing/2014/main" id="{3CCE8CE4-6F6D-4D6E-BA70-62B67A8FBAAA}"/>
              </a:ext>
            </a:extLst>
          </p:cNvPr>
          <p:cNvSpPr/>
          <p:nvPr userDrawn="1"/>
        </p:nvSpPr>
        <p:spPr>
          <a:xfrm>
            <a:off x="240702" y="360844"/>
            <a:ext cx="76200" cy="626849"/>
          </a:xfrm>
          <a:prstGeom prst="rect">
            <a:avLst/>
          </a:pr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745222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Slide 1">
    <p:bg>
      <p:bgPr>
        <a:gradFill>
          <a:gsLst>
            <a:gs pos="5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sp>
        <p:nvSpPr>
          <p:cNvPr id="28" name="Freeform 44">
            <a:extLst>
              <a:ext uri="{FF2B5EF4-FFF2-40B4-BE49-F238E27FC236}">
                <a16:creationId xmlns:a16="http://schemas.microsoft.com/office/drawing/2014/main" id="{69196B9C-0D13-41C0-B8B0-CDC040CD2C61}"/>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chemeClr val="accent1">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45">
            <a:extLst>
              <a:ext uri="{FF2B5EF4-FFF2-40B4-BE49-F238E27FC236}">
                <a16:creationId xmlns:a16="http://schemas.microsoft.com/office/drawing/2014/main" id="{FA26C795-A228-45BC-9FD6-9F4B38F5758E}"/>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45">
            <a:extLst>
              <a:ext uri="{FF2B5EF4-FFF2-40B4-BE49-F238E27FC236}">
                <a16:creationId xmlns:a16="http://schemas.microsoft.com/office/drawing/2014/main" id="{3E472225-1D27-4171-9A1F-DC18E9984C54}"/>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Title 1">
            <a:extLst>
              <a:ext uri="{FF2B5EF4-FFF2-40B4-BE49-F238E27FC236}">
                <a16:creationId xmlns:a16="http://schemas.microsoft.com/office/drawing/2014/main" id="{81576C2A-F971-4013-B5C9-628794A2B375}"/>
              </a:ext>
            </a:extLst>
          </p:cNvPr>
          <p:cNvSpPr>
            <a:spLocks noGrp="1"/>
          </p:cNvSpPr>
          <p:nvPr>
            <p:ph type="title"/>
          </p:nvPr>
        </p:nvSpPr>
        <p:spPr>
          <a:xfrm>
            <a:off x="442913" y="4559300"/>
            <a:ext cx="4814887" cy="481467"/>
          </a:xfrm>
        </p:spPr>
        <p:txBody>
          <a:bodyPr anchor="b">
            <a:noAutofit/>
          </a:bodyPr>
          <a:lstStyle>
            <a:lvl1pPr algn="l">
              <a:defRPr sz="2800">
                <a:solidFill>
                  <a:schemeClr val="bg1"/>
                </a:solidFill>
              </a:defRPr>
            </a:lvl1pPr>
          </a:lstStyle>
          <a:p>
            <a:r>
              <a:rPr lang="en-US"/>
              <a:t>Click to edit Master title style</a:t>
            </a:r>
            <a:endParaRPr lang="en-US" dirty="0"/>
          </a:p>
        </p:txBody>
      </p:sp>
      <p:sp>
        <p:nvSpPr>
          <p:cNvPr id="12" name="Text Placeholder 14">
            <a:extLst>
              <a:ext uri="{FF2B5EF4-FFF2-40B4-BE49-F238E27FC236}">
                <a16:creationId xmlns:a16="http://schemas.microsoft.com/office/drawing/2014/main" id="{F0262607-5D9E-4C0E-85EF-C58325EA4078}"/>
              </a:ext>
            </a:extLst>
          </p:cNvPr>
          <p:cNvSpPr>
            <a:spLocks noGrp="1"/>
          </p:cNvSpPr>
          <p:nvPr>
            <p:ph type="body" sz="quarter" idx="10"/>
          </p:nvPr>
        </p:nvSpPr>
        <p:spPr>
          <a:xfrm>
            <a:off x="442913" y="5063331"/>
            <a:ext cx="4814887" cy="998538"/>
          </a:xfrm>
        </p:spPr>
        <p:txBody>
          <a:bodyPr>
            <a:noAutofit/>
          </a:bodyPr>
          <a:lstStyle>
            <a:lvl1pPr marL="0" indent="0" algn="l">
              <a:buNone/>
              <a:defRPr>
                <a:solidFill>
                  <a:schemeClr val="bg1"/>
                </a:solidFill>
              </a:defRPr>
            </a:lvl1pPr>
          </a:lstStyle>
          <a:p>
            <a:pPr lvl="0"/>
            <a:r>
              <a:rPr lang="en-US"/>
              <a:t>Edit Master text styles</a:t>
            </a:r>
          </a:p>
        </p:txBody>
      </p:sp>
      <p:sp>
        <p:nvSpPr>
          <p:cNvPr id="7" name="Freeform 44">
            <a:extLst>
              <a:ext uri="{FF2B5EF4-FFF2-40B4-BE49-F238E27FC236}">
                <a16:creationId xmlns:a16="http://schemas.microsoft.com/office/drawing/2014/main" id="{8CBB30A4-3CAE-403A-B477-882D83D5CB3C}"/>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chemeClr val="accent1">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45">
            <a:extLst>
              <a:ext uri="{FF2B5EF4-FFF2-40B4-BE49-F238E27FC236}">
                <a16:creationId xmlns:a16="http://schemas.microsoft.com/office/drawing/2014/main" id="{5C12A34D-0C8C-4AFF-AC66-5FDE57F850A8}"/>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080281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Slide 2">
    <p:bg>
      <p:bgPr>
        <a:gradFill>
          <a:gsLst>
            <a:gs pos="3000">
              <a:srgbClr val="88BF2C"/>
            </a:gs>
            <a:gs pos="100000">
              <a:srgbClr val="BBDD8E"/>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913" y="4559300"/>
            <a:ext cx="4814887" cy="481467"/>
          </a:xfrm>
        </p:spPr>
        <p:txBody>
          <a:bodyPr anchor="b">
            <a:noAutofit/>
          </a:bodyPr>
          <a:lstStyle>
            <a:lvl1pPr algn="l">
              <a:defRPr sz="2800">
                <a:solidFill>
                  <a:schemeClr val="bg1"/>
                </a:solidFill>
              </a:defRPr>
            </a:lvl1pPr>
          </a:lstStyle>
          <a:p>
            <a:r>
              <a:rPr lang="en-US"/>
              <a:t>Click to edit Master title style</a:t>
            </a:r>
            <a:endParaRPr lang="en-US" dirty="0"/>
          </a:p>
        </p:txBody>
      </p:sp>
      <p:sp>
        <p:nvSpPr>
          <p:cNvPr id="16" name="Text Placeholder 14"/>
          <p:cNvSpPr>
            <a:spLocks noGrp="1"/>
          </p:cNvSpPr>
          <p:nvPr>
            <p:ph type="body" sz="quarter" idx="10"/>
          </p:nvPr>
        </p:nvSpPr>
        <p:spPr>
          <a:xfrm>
            <a:off x="442913" y="5063331"/>
            <a:ext cx="4814887" cy="998538"/>
          </a:xfrm>
        </p:spPr>
        <p:txBody>
          <a:bodyPr>
            <a:noAutofit/>
          </a:bodyPr>
          <a:lstStyle>
            <a:lvl1pPr marL="0" indent="0" algn="l">
              <a:buNone/>
              <a:defRPr>
                <a:solidFill>
                  <a:schemeClr val="bg1"/>
                </a:solidFill>
              </a:defRPr>
            </a:lvl1pPr>
          </a:lstStyle>
          <a:p>
            <a:pPr lvl="0"/>
            <a:r>
              <a:rPr lang="en-US"/>
              <a:t>Edit Master text styles</a:t>
            </a:r>
          </a:p>
        </p:txBody>
      </p:sp>
      <p:sp>
        <p:nvSpPr>
          <p:cNvPr id="28" name="Freeform 44">
            <a:extLst>
              <a:ext uri="{FF2B5EF4-FFF2-40B4-BE49-F238E27FC236}">
                <a16:creationId xmlns:a16="http://schemas.microsoft.com/office/drawing/2014/main" id="{69196B9C-0D13-41C0-B8B0-CDC040CD2C61}"/>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rgbClr val="679222">
              <a:alpha val="12941"/>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45">
            <a:extLst>
              <a:ext uri="{FF2B5EF4-FFF2-40B4-BE49-F238E27FC236}">
                <a16:creationId xmlns:a16="http://schemas.microsoft.com/office/drawing/2014/main" id="{FA26C795-A228-45BC-9FD6-9F4B38F5758E}"/>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45">
            <a:extLst>
              <a:ext uri="{FF2B5EF4-FFF2-40B4-BE49-F238E27FC236}">
                <a16:creationId xmlns:a16="http://schemas.microsoft.com/office/drawing/2014/main" id="{B5261605-C785-4FC0-A7B0-EA4964B75F38}"/>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45">
            <a:extLst>
              <a:ext uri="{FF2B5EF4-FFF2-40B4-BE49-F238E27FC236}">
                <a16:creationId xmlns:a16="http://schemas.microsoft.com/office/drawing/2014/main" id="{EED6F321-78E0-48CC-A48B-DE3B4E6F73F1}"/>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346609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ction Slide 3">
    <p:bg>
      <p:bgPr>
        <a:gradFill>
          <a:gsLst>
            <a:gs pos="5000">
              <a:srgbClr val="FD7627"/>
            </a:gs>
            <a:gs pos="100000">
              <a:srgbClr val="FEA060"/>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913" y="4559300"/>
            <a:ext cx="4814887" cy="481467"/>
          </a:xfrm>
        </p:spPr>
        <p:txBody>
          <a:bodyPr anchor="b">
            <a:noAutofit/>
          </a:bodyPr>
          <a:lstStyle>
            <a:lvl1pPr algn="l">
              <a:defRPr sz="2800">
                <a:solidFill>
                  <a:schemeClr val="bg1"/>
                </a:solidFill>
              </a:defRPr>
            </a:lvl1pPr>
          </a:lstStyle>
          <a:p>
            <a:r>
              <a:rPr lang="en-US"/>
              <a:t>Click to edit Master title style</a:t>
            </a:r>
            <a:endParaRPr lang="en-US" dirty="0"/>
          </a:p>
        </p:txBody>
      </p:sp>
      <p:sp>
        <p:nvSpPr>
          <p:cNvPr id="16" name="Text Placeholder 14"/>
          <p:cNvSpPr>
            <a:spLocks noGrp="1"/>
          </p:cNvSpPr>
          <p:nvPr>
            <p:ph type="body" sz="quarter" idx="10"/>
          </p:nvPr>
        </p:nvSpPr>
        <p:spPr>
          <a:xfrm>
            <a:off x="442913" y="5063331"/>
            <a:ext cx="4814887" cy="998538"/>
          </a:xfrm>
        </p:spPr>
        <p:txBody>
          <a:bodyPr>
            <a:noAutofit/>
          </a:bodyPr>
          <a:lstStyle>
            <a:lvl1pPr marL="0" indent="0" algn="l">
              <a:buNone/>
              <a:defRPr>
                <a:solidFill>
                  <a:schemeClr val="bg1"/>
                </a:solidFill>
              </a:defRPr>
            </a:lvl1pPr>
          </a:lstStyle>
          <a:p>
            <a:pPr lvl="0"/>
            <a:r>
              <a:rPr lang="en-US"/>
              <a:t>Edit Master text styles</a:t>
            </a:r>
          </a:p>
        </p:txBody>
      </p:sp>
      <p:sp>
        <p:nvSpPr>
          <p:cNvPr id="28" name="Freeform 44">
            <a:extLst>
              <a:ext uri="{FF2B5EF4-FFF2-40B4-BE49-F238E27FC236}">
                <a16:creationId xmlns:a16="http://schemas.microsoft.com/office/drawing/2014/main" id="{69196B9C-0D13-41C0-B8B0-CDC040CD2C61}"/>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rgbClr val="D44A05">
              <a:alpha val="1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45">
            <a:extLst>
              <a:ext uri="{FF2B5EF4-FFF2-40B4-BE49-F238E27FC236}">
                <a16:creationId xmlns:a16="http://schemas.microsoft.com/office/drawing/2014/main" id="{FA26C795-A228-45BC-9FD6-9F4B38F5758E}"/>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45">
            <a:extLst>
              <a:ext uri="{FF2B5EF4-FFF2-40B4-BE49-F238E27FC236}">
                <a16:creationId xmlns:a16="http://schemas.microsoft.com/office/drawing/2014/main" id="{6A835F36-E47E-47AC-B3CF-2ABAEE737E7D}"/>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45">
            <a:extLst>
              <a:ext uri="{FF2B5EF4-FFF2-40B4-BE49-F238E27FC236}">
                <a16:creationId xmlns:a16="http://schemas.microsoft.com/office/drawing/2014/main" id="{F8CFF4A3-24D0-4B2E-9126-1FE636815A77}"/>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161080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C64DAB-CE69-44B5-A857-74CCBB2E4204}"/>
              </a:ext>
            </a:extLst>
          </p:cNvPr>
          <p:cNvSpPr/>
          <p:nvPr userDrawn="1"/>
        </p:nvSpPr>
        <p:spPr>
          <a:xfrm>
            <a:off x="0" y="-2740"/>
            <a:ext cx="12192000"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7FDD3774-A46A-4F77-B9AC-1BE46C396A97}"/>
              </a:ext>
            </a:extLst>
          </p:cNvPr>
          <p:cNvGrpSpPr>
            <a:grpSpLocks/>
          </p:cNvGrpSpPr>
          <p:nvPr userDrawn="1"/>
        </p:nvGrpSpPr>
        <p:grpSpPr>
          <a:xfrm>
            <a:off x="-1587" y="1658031"/>
            <a:ext cx="10748298" cy="3541939"/>
            <a:chOff x="-1587" y="1247775"/>
            <a:chExt cx="10169525" cy="3351213"/>
          </a:xfrm>
        </p:grpSpPr>
        <p:sp>
          <p:nvSpPr>
            <p:cNvPr id="5" name="Freeform 5">
              <a:extLst>
                <a:ext uri="{FF2B5EF4-FFF2-40B4-BE49-F238E27FC236}">
                  <a16:creationId xmlns:a16="http://schemas.microsoft.com/office/drawing/2014/main" id="{1804C65A-939C-4F49-B5BE-DF5460E6BFC0}"/>
                </a:ext>
              </a:extLst>
            </p:cNvPr>
            <p:cNvSpPr>
              <a:spLocks/>
            </p:cNvSpPr>
            <p:nvPr/>
          </p:nvSpPr>
          <p:spPr bwMode="auto">
            <a:xfrm>
              <a:off x="-1587" y="1247775"/>
              <a:ext cx="9555163" cy="3351213"/>
            </a:xfrm>
            <a:custGeom>
              <a:avLst/>
              <a:gdLst>
                <a:gd name="T0" fmla="*/ 6019 w 6019"/>
                <a:gd name="T1" fmla="*/ 1537 h 2111"/>
                <a:gd name="T2" fmla="*/ 6019 w 6019"/>
                <a:gd name="T3" fmla="*/ 1537 h 2111"/>
                <a:gd name="T4" fmla="*/ 5940 w 6019"/>
                <a:gd name="T5" fmla="*/ 1578 h 2111"/>
                <a:gd name="T6" fmla="*/ 5581 w 6019"/>
                <a:gd name="T7" fmla="*/ 1763 h 2111"/>
                <a:gd name="T8" fmla="*/ 5224 w 6019"/>
                <a:gd name="T9" fmla="*/ 1578 h 2111"/>
                <a:gd name="T10" fmla="*/ 5145 w 6019"/>
                <a:gd name="T11" fmla="*/ 1537 h 2111"/>
                <a:gd name="T12" fmla="*/ 5519 w 6019"/>
                <a:gd name="T13" fmla="*/ 1210 h 2111"/>
                <a:gd name="T14" fmla="*/ 5259 w 6019"/>
                <a:gd name="T15" fmla="*/ 984 h 2111"/>
                <a:gd name="T16" fmla="*/ 4795 w 6019"/>
                <a:gd name="T17" fmla="*/ 1390 h 2111"/>
                <a:gd name="T18" fmla="*/ 4773 w 6019"/>
                <a:gd name="T19" fmla="*/ 1410 h 2111"/>
                <a:gd name="T20" fmla="*/ 4797 w 6019"/>
                <a:gd name="T21" fmla="*/ 1741 h 2111"/>
                <a:gd name="T22" fmla="*/ 4797 w 6019"/>
                <a:gd name="T23" fmla="*/ 1741 h 2111"/>
                <a:gd name="T24" fmla="*/ 4868 w 6019"/>
                <a:gd name="T25" fmla="*/ 1779 h 2111"/>
                <a:gd name="T26" fmla="*/ 4947 w 6019"/>
                <a:gd name="T27" fmla="*/ 1818 h 2111"/>
                <a:gd name="T28" fmla="*/ 5509 w 6019"/>
                <a:gd name="T29" fmla="*/ 2111 h 2111"/>
                <a:gd name="T30" fmla="*/ 0 w 6019"/>
                <a:gd name="T31" fmla="*/ 2111 h 2111"/>
                <a:gd name="T32" fmla="*/ 0 w 6019"/>
                <a:gd name="T33" fmla="*/ 0 h 2111"/>
                <a:gd name="T34" fmla="*/ 5558 w 6019"/>
                <a:gd name="T35" fmla="*/ 0 h 2111"/>
                <a:gd name="T36" fmla="*/ 4797 w 6019"/>
                <a:gd name="T37" fmla="*/ 117 h 2111"/>
                <a:gd name="T38" fmla="*/ 4773 w 6019"/>
                <a:gd name="T39" fmla="*/ 447 h 2111"/>
                <a:gd name="T40" fmla="*/ 4791 w 6019"/>
                <a:gd name="T41" fmla="*/ 464 h 2111"/>
                <a:gd name="T42" fmla="*/ 4872 w 6019"/>
                <a:gd name="T43" fmla="*/ 536 h 2111"/>
                <a:gd name="T44" fmla="*/ 6019 w 6019"/>
                <a:gd name="T45" fmla="*/ 1537 h 2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19" h="2111">
                  <a:moveTo>
                    <a:pt x="6019" y="1537"/>
                  </a:moveTo>
                  <a:lnTo>
                    <a:pt x="6019" y="1537"/>
                  </a:lnTo>
                  <a:lnTo>
                    <a:pt x="5940" y="1578"/>
                  </a:lnTo>
                  <a:lnTo>
                    <a:pt x="5581" y="1763"/>
                  </a:lnTo>
                  <a:lnTo>
                    <a:pt x="5224" y="1578"/>
                  </a:lnTo>
                  <a:lnTo>
                    <a:pt x="5145" y="1537"/>
                  </a:lnTo>
                  <a:lnTo>
                    <a:pt x="5519" y="1210"/>
                  </a:lnTo>
                  <a:lnTo>
                    <a:pt x="5259" y="984"/>
                  </a:lnTo>
                  <a:lnTo>
                    <a:pt x="4795" y="1390"/>
                  </a:lnTo>
                  <a:lnTo>
                    <a:pt x="4773" y="1410"/>
                  </a:lnTo>
                  <a:lnTo>
                    <a:pt x="4797" y="1741"/>
                  </a:lnTo>
                  <a:lnTo>
                    <a:pt x="4797" y="1741"/>
                  </a:lnTo>
                  <a:lnTo>
                    <a:pt x="4868" y="1779"/>
                  </a:lnTo>
                  <a:lnTo>
                    <a:pt x="4947" y="1818"/>
                  </a:lnTo>
                  <a:lnTo>
                    <a:pt x="5509" y="2111"/>
                  </a:lnTo>
                  <a:lnTo>
                    <a:pt x="0" y="2111"/>
                  </a:lnTo>
                  <a:lnTo>
                    <a:pt x="0" y="0"/>
                  </a:lnTo>
                  <a:lnTo>
                    <a:pt x="5558" y="0"/>
                  </a:lnTo>
                  <a:lnTo>
                    <a:pt x="4797" y="117"/>
                  </a:lnTo>
                  <a:lnTo>
                    <a:pt x="4773" y="447"/>
                  </a:lnTo>
                  <a:lnTo>
                    <a:pt x="4791" y="464"/>
                  </a:lnTo>
                  <a:lnTo>
                    <a:pt x="4872" y="536"/>
                  </a:lnTo>
                  <a:lnTo>
                    <a:pt x="6019" y="1537"/>
                  </a:lnTo>
                  <a:close/>
                </a:path>
              </a:pathLst>
            </a:custGeom>
            <a:gradFill flip="none" rotWithShape="1">
              <a:gsLst>
                <a:gs pos="0">
                  <a:schemeClr val="accent1">
                    <a:alpha val="45000"/>
                  </a:schemeClr>
                </a:gs>
                <a:gs pos="100000">
                  <a:schemeClr val="accent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 name="Group 5">
              <a:extLst>
                <a:ext uri="{FF2B5EF4-FFF2-40B4-BE49-F238E27FC236}">
                  <a16:creationId xmlns:a16="http://schemas.microsoft.com/office/drawing/2014/main" id="{A4651F89-3A22-4417-ADEF-4CD9C17E3B53}"/>
                </a:ext>
              </a:extLst>
            </p:cNvPr>
            <p:cNvGrpSpPr/>
            <p:nvPr/>
          </p:nvGrpSpPr>
          <p:grpSpPr>
            <a:xfrm>
              <a:off x="7575551" y="1247775"/>
              <a:ext cx="2592387" cy="3351213"/>
              <a:chOff x="7575551" y="1247775"/>
              <a:chExt cx="2592387" cy="3351213"/>
            </a:xfrm>
          </p:grpSpPr>
          <p:sp>
            <p:nvSpPr>
              <p:cNvPr id="7" name="Freeform 6">
                <a:extLst>
                  <a:ext uri="{FF2B5EF4-FFF2-40B4-BE49-F238E27FC236}">
                    <a16:creationId xmlns:a16="http://schemas.microsoft.com/office/drawing/2014/main" id="{6BA2E549-409E-4C3D-81DE-ADD5A44F3F2D}"/>
                  </a:ext>
                </a:extLst>
              </p:cNvPr>
              <p:cNvSpPr>
                <a:spLocks/>
              </p:cNvSpPr>
              <p:nvPr/>
            </p:nvSpPr>
            <p:spPr bwMode="auto">
              <a:xfrm>
                <a:off x="7575551" y="3454400"/>
                <a:ext cx="2568575" cy="1144588"/>
              </a:xfrm>
              <a:custGeom>
                <a:avLst/>
                <a:gdLst>
                  <a:gd name="T0" fmla="*/ 1618 w 1618"/>
                  <a:gd name="T1" fmla="*/ 20 h 721"/>
                  <a:gd name="T2" fmla="*/ 1594 w 1618"/>
                  <a:gd name="T3" fmla="*/ 351 h 721"/>
                  <a:gd name="T4" fmla="*/ 1520 w 1618"/>
                  <a:gd name="T5" fmla="*/ 389 h 721"/>
                  <a:gd name="T6" fmla="*/ 1441 w 1618"/>
                  <a:gd name="T7" fmla="*/ 428 h 721"/>
                  <a:gd name="T8" fmla="*/ 1344 w 1618"/>
                  <a:gd name="T9" fmla="*/ 479 h 721"/>
                  <a:gd name="T10" fmla="*/ 879 w 1618"/>
                  <a:gd name="T11" fmla="*/ 721 h 721"/>
                  <a:gd name="T12" fmla="*/ 736 w 1618"/>
                  <a:gd name="T13" fmla="*/ 721 h 721"/>
                  <a:gd name="T14" fmla="*/ 174 w 1618"/>
                  <a:gd name="T15" fmla="*/ 428 h 721"/>
                  <a:gd name="T16" fmla="*/ 95 w 1618"/>
                  <a:gd name="T17" fmla="*/ 389 h 721"/>
                  <a:gd name="T18" fmla="*/ 24 w 1618"/>
                  <a:gd name="T19" fmla="*/ 351 h 721"/>
                  <a:gd name="T20" fmla="*/ 0 w 1618"/>
                  <a:gd name="T21" fmla="*/ 20 h 721"/>
                  <a:gd name="T22" fmla="*/ 22 w 1618"/>
                  <a:gd name="T23" fmla="*/ 0 h 721"/>
                  <a:gd name="T24" fmla="*/ 334 w 1618"/>
                  <a:gd name="T25" fmla="*/ 128 h 721"/>
                  <a:gd name="T26" fmla="*/ 372 w 1618"/>
                  <a:gd name="T27" fmla="*/ 147 h 721"/>
                  <a:gd name="T28" fmla="*/ 451 w 1618"/>
                  <a:gd name="T29" fmla="*/ 188 h 721"/>
                  <a:gd name="T30" fmla="*/ 808 w 1618"/>
                  <a:gd name="T31" fmla="*/ 373 h 721"/>
                  <a:gd name="T32" fmla="*/ 1167 w 1618"/>
                  <a:gd name="T33" fmla="*/ 188 h 721"/>
                  <a:gd name="T34" fmla="*/ 1246 w 1618"/>
                  <a:gd name="T35" fmla="*/ 147 h 721"/>
                  <a:gd name="T36" fmla="*/ 1246 w 1618"/>
                  <a:gd name="T37" fmla="*/ 147 h 721"/>
                  <a:gd name="T38" fmla="*/ 1282 w 1618"/>
                  <a:gd name="T39" fmla="*/ 128 h 721"/>
                  <a:gd name="T40" fmla="*/ 1344 w 1618"/>
                  <a:gd name="T41" fmla="*/ 103 h 721"/>
                  <a:gd name="T42" fmla="*/ 1595 w 1618"/>
                  <a:gd name="T43" fmla="*/ 0 h 721"/>
                  <a:gd name="T44" fmla="*/ 1618 w 1618"/>
                  <a:gd name="T45" fmla="*/ 20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8" h="721">
                    <a:moveTo>
                      <a:pt x="1618" y="20"/>
                    </a:moveTo>
                    <a:lnTo>
                      <a:pt x="1594" y="351"/>
                    </a:lnTo>
                    <a:lnTo>
                      <a:pt x="1520" y="389"/>
                    </a:lnTo>
                    <a:lnTo>
                      <a:pt x="1441" y="428"/>
                    </a:lnTo>
                    <a:lnTo>
                      <a:pt x="1344" y="479"/>
                    </a:lnTo>
                    <a:lnTo>
                      <a:pt x="879" y="721"/>
                    </a:lnTo>
                    <a:lnTo>
                      <a:pt x="736" y="721"/>
                    </a:lnTo>
                    <a:lnTo>
                      <a:pt x="174" y="428"/>
                    </a:lnTo>
                    <a:lnTo>
                      <a:pt x="95" y="389"/>
                    </a:lnTo>
                    <a:lnTo>
                      <a:pt x="24" y="351"/>
                    </a:lnTo>
                    <a:lnTo>
                      <a:pt x="0" y="20"/>
                    </a:lnTo>
                    <a:lnTo>
                      <a:pt x="22" y="0"/>
                    </a:lnTo>
                    <a:lnTo>
                      <a:pt x="334" y="128"/>
                    </a:lnTo>
                    <a:lnTo>
                      <a:pt x="372" y="147"/>
                    </a:lnTo>
                    <a:lnTo>
                      <a:pt x="451" y="188"/>
                    </a:lnTo>
                    <a:lnTo>
                      <a:pt x="808" y="373"/>
                    </a:lnTo>
                    <a:lnTo>
                      <a:pt x="1167" y="188"/>
                    </a:lnTo>
                    <a:lnTo>
                      <a:pt x="1246" y="147"/>
                    </a:lnTo>
                    <a:lnTo>
                      <a:pt x="1246" y="147"/>
                    </a:lnTo>
                    <a:lnTo>
                      <a:pt x="1282" y="128"/>
                    </a:lnTo>
                    <a:lnTo>
                      <a:pt x="1344" y="103"/>
                    </a:lnTo>
                    <a:lnTo>
                      <a:pt x="1595" y="0"/>
                    </a:lnTo>
                    <a:lnTo>
                      <a:pt x="1618" y="2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3BF3BDF1-D136-472C-9B7A-778DF5BB65E5}"/>
                  </a:ext>
                </a:extLst>
              </p:cNvPr>
              <p:cNvSpPr>
                <a:spLocks/>
              </p:cNvSpPr>
              <p:nvPr/>
            </p:nvSpPr>
            <p:spPr bwMode="auto">
              <a:xfrm>
                <a:off x="7575551" y="1801813"/>
                <a:ext cx="2568575" cy="2270125"/>
              </a:xfrm>
              <a:custGeom>
                <a:avLst/>
                <a:gdLst>
                  <a:gd name="T0" fmla="*/ 1618 w 1618"/>
                  <a:gd name="T1" fmla="*/ 1061 h 1430"/>
                  <a:gd name="T2" fmla="*/ 1594 w 1618"/>
                  <a:gd name="T3" fmla="*/ 1392 h 1430"/>
                  <a:gd name="T4" fmla="*/ 1520 w 1618"/>
                  <a:gd name="T5" fmla="*/ 1430 h 1430"/>
                  <a:gd name="T6" fmla="*/ 1520 w 1618"/>
                  <a:gd name="T7" fmla="*/ 1430 h 1430"/>
                  <a:gd name="T8" fmla="*/ 1344 w 1618"/>
                  <a:gd name="T9" fmla="*/ 1275 h 1430"/>
                  <a:gd name="T10" fmla="*/ 1344 w 1618"/>
                  <a:gd name="T11" fmla="*/ 1275 h 1430"/>
                  <a:gd name="T12" fmla="*/ 1246 w 1618"/>
                  <a:gd name="T13" fmla="*/ 1188 h 1430"/>
                  <a:gd name="T14" fmla="*/ 1246 w 1618"/>
                  <a:gd name="T15" fmla="*/ 1188 h 1430"/>
                  <a:gd name="T16" fmla="*/ 99 w 1618"/>
                  <a:gd name="T17" fmla="*/ 187 h 1430"/>
                  <a:gd name="T18" fmla="*/ 18 w 1618"/>
                  <a:gd name="T19" fmla="*/ 115 h 1430"/>
                  <a:gd name="T20" fmla="*/ 0 w 1618"/>
                  <a:gd name="T21" fmla="*/ 98 h 1430"/>
                  <a:gd name="T22" fmla="*/ 2 w 1618"/>
                  <a:gd name="T23" fmla="*/ 63 h 1430"/>
                  <a:gd name="T24" fmla="*/ 406 w 1618"/>
                  <a:gd name="T25" fmla="*/ 0 h 1430"/>
                  <a:gd name="T26" fmla="*/ 458 w 1618"/>
                  <a:gd name="T27" fmla="*/ 47 h 1430"/>
                  <a:gd name="T28" fmla="*/ 458 w 1618"/>
                  <a:gd name="T29" fmla="*/ 47 h 1430"/>
                  <a:gd name="T30" fmla="*/ 541 w 1618"/>
                  <a:gd name="T31" fmla="*/ 119 h 1430"/>
                  <a:gd name="T32" fmla="*/ 541 w 1618"/>
                  <a:gd name="T33" fmla="*/ 119 h 1430"/>
                  <a:gd name="T34" fmla="*/ 1344 w 1618"/>
                  <a:gd name="T35" fmla="*/ 822 h 1430"/>
                  <a:gd name="T36" fmla="*/ 1595 w 1618"/>
                  <a:gd name="T37" fmla="*/ 1041 h 1430"/>
                  <a:gd name="T38" fmla="*/ 1618 w 1618"/>
                  <a:gd name="T39" fmla="*/ 1061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8" h="1430">
                    <a:moveTo>
                      <a:pt x="1618" y="1061"/>
                    </a:moveTo>
                    <a:lnTo>
                      <a:pt x="1594" y="1392"/>
                    </a:lnTo>
                    <a:lnTo>
                      <a:pt x="1520" y="1430"/>
                    </a:lnTo>
                    <a:lnTo>
                      <a:pt x="1520" y="1430"/>
                    </a:lnTo>
                    <a:lnTo>
                      <a:pt x="1344" y="1275"/>
                    </a:lnTo>
                    <a:lnTo>
                      <a:pt x="1344" y="1275"/>
                    </a:lnTo>
                    <a:lnTo>
                      <a:pt x="1246" y="1188"/>
                    </a:lnTo>
                    <a:lnTo>
                      <a:pt x="1246" y="1188"/>
                    </a:lnTo>
                    <a:lnTo>
                      <a:pt x="99" y="187"/>
                    </a:lnTo>
                    <a:lnTo>
                      <a:pt x="18" y="115"/>
                    </a:lnTo>
                    <a:lnTo>
                      <a:pt x="0" y="98"/>
                    </a:lnTo>
                    <a:lnTo>
                      <a:pt x="2" y="63"/>
                    </a:lnTo>
                    <a:lnTo>
                      <a:pt x="406" y="0"/>
                    </a:lnTo>
                    <a:lnTo>
                      <a:pt x="458" y="47"/>
                    </a:lnTo>
                    <a:lnTo>
                      <a:pt x="458" y="47"/>
                    </a:lnTo>
                    <a:lnTo>
                      <a:pt x="541" y="119"/>
                    </a:lnTo>
                    <a:lnTo>
                      <a:pt x="541" y="119"/>
                    </a:lnTo>
                    <a:lnTo>
                      <a:pt x="1344" y="822"/>
                    </a:lnTo>
                    <a:lnTo>
                      <a:pt x="1595" y="1041"/>
                    </a:lnTo>
                    <a:lnTo>
                      <a:pt x="1618" y="1061"/>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2CB290B9-DD38-4E6B-AFDA-755C93926BA2}"/>
                  </a:ext>
                </a:extLst>
              </p:cNvPr>
              <p:cNvSpPr>
                <a:spLocks/>
              </p:cNvSpPr>
              <p:nvPr/>
            </p:nvSpPr>
            <p:spPr bwMode="auto">
              <a:xfrm>
                <a:off x="7575551" y="2809875"/>
                <a:ext cx="1184275" cy="1262063"/>
              </a:xfrm>
              <a:custGeom>
                <a:avLst/>
                <a:gdLst>
                  <a:gd name="T0" fmla="*/ 746 w 746"/>
                  <a:gd name="T1" fmla="*/ 226 h 795"/>
                  <a:gd name="T2" fmla="*/ 372 w 746"/>
                  <a:gd name="T3" fmla="*/ 553 h 795"/>
                  <a:gd name="T4" fmla="*/ 95 w 746"/>
                  <a:gd name="T5" fmla="*/ 795 h 795"/>
                  <a:gd name="T6" fmla="*/ 24 w 746"/>
                  <a:gd name="T7" fmla="*/ 757 h 795"/>
                  <a:gd name="T8" fmla="*/ 24 w 746"/>
                  <a:gd name="T9" fmla="*/ 757 h 795"/>
                  <a:gd name="T10" fmla="*/ 0 w 746"/>
                  <a:gd name="T11" fmla="*/ 426 h 795"/>
                  <a:gd name="T12" fmla="*/ 22 w 746"/>
                  <a:gd name="T13" fmla="*/ 406 h 795"/>
                  <a:gd name="T14" fmla="*/ 486 w 746"/>
                  <a:gd name="T15" fmla="*/ 0 h 795"/>
                  <a:gd name="T16" fmla="*/ 746 w 746"/>
                  <a:gd name="T17" fmla="*/ 226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6" h="795">
                    <a:moveTo>
                      <a:pt x="746" y="226"/>
                    </a:moveTo>
                    <a:lnTo>
                      <a:pt x="372" y="553"/>
                    </a:lnTo>
                    <a:lnTo>
                      <a:pt x="95" y="795"/>
                    </a:lnTo>
                    <a:lnTo>
                      <a:pt x="24" y="757"/>
                    </a:lnTo>
                    <a:lnTo>
                      <a:pt x="24" y="757"/>
                    </a:lnTo>
                    <a:lnTo>
                      <a:pt x="0" y="426"/>
                    </a:lnTo>
                    <a:lnTo>
                      <a:pt x="22" y="406"/>
                    </a:lnTo>
                    <a:lnTo>
                      <a:pt x="486" y="0"/>
                    </a:lnTo>
                    <a:lnTo>
                      <a:pt x="746" y="226"/>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a:extLst>
                  <a:ext uri="{FF2B5EF4-FFF2-40B4-BE49-F238E27FC236}">
                    <a16:creationId xmlns:a16="http://schemas.microsoft.com/office/drawing/2014/main" id="{8DDB055A-6490-4F5D-8E0F-791CB7E66E73}"/>
                  </a:ext>
                </a:extLst>
              </p:cNvPr>
              <p:cNvSpPr>
                <a:spLocks/>
              </p:cNvSpPr>
              <p:nvPr/>
            </p:nvSpPr>
            <p:spPr bwMode="auto">
              <a:xfrm>
                <a:off x="7575551" y="1247775"/>
                <a:ext cx="2141538" cy="736600"/>
              </a:xfrm>
              <a:custGeom>
                <a:avLst/>
                <a:gdLst>
                  <a:gd name="T0" fmla="*/ 1349 w 1349"/>
                  <a:gd name="T1" fmla="*/ 79 h 464"/>
                  <a:gd name="T2" fmla="*/ 1349 w 1349"/>
                  <a:gd name="T3" fmla="*/ 427 h 464"/>
                  <a:gd name="T4" fmla="*/ 1344 w 1349"/>
                  <a:gd name="T5" fmla="*/ 425 h 464"/>
                  <a:gd name="T6" fmla="*/ 1293 w 1349"/>
                  <a:gd name="T7" fmla="*/ 417 h 464"/>
                  <a:gd name="T8" fmla="*/ 1212 w 1349"/>
                  <a:gd name="T9" fmla="*/ 404 h 464"/>
                  <a:gd name="T10" fmla="*/ 808 w 1349"/>
                  <a:gd name="T11" fmla="*/ 342 h 464"/>
                  <a:gd name="T12" fmla="*/ 458 w 1349"/>
                  <a:gd name="T13" fmla="*/ 396 h 464"/>
                  <a:gd name="T14" fmla="*/ 458 w 1349"/>
                  <a:gd name="T15" fmla="*/ 396 h 464"/>
                  <a:gd name="T16" fmla="*/ 18 w 1349"/>
                  <a:gd name="T17" fmla="*/ 464 h 464"/>
                  <a:gd name="T18" fmla="*/ 0 w 1349"/>
                  <a:gd name="T19" fmla="*/ 447 h 464"/>
                  <a:gd name="T20" fmla="*/ 24 w 1349"/>
                  <a:gd name="T21" fmla="*/ 117 h 464"/>
                  <a:gd name="T22" fmla="*/ 785 w 1349"/>
                  <a:gd name="T23" fmla="*/ 0 h 464"/>
                  <a:gd name="T24" fmla="*/ 832 w 1349"/>
                  <a:gd name="T25" fmla="*/ 0 h 464"/>
                  <a:gd name="T26" fmla="*/ 1212 w 1349"/>
                  <a:gd name="T27" fmla="*/ 59 h 464"/>
                  <a:gd name="T28" fmla="*/ 1293 w 1349"/>
                  <a:gd name="T29" fmla="*/ 72 h 464"/>
                  <a:gd name="T30" fmla="*/ 1344 w 1349"/>
                  <a:gd name="T31" fmla="*/ 79 h 464"/>
                  <a:gd name="T32" fmla="*/ 1349 w 1349"/>
                  <a:gd name="T33" fmla="*/ 79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9" h="464">
                    <a:moveTo>
                      <a:pt x="1349" y="79"/>
                    </a:moveTo>
                    <a:lnTo>
                      <a:pt x="1349" y="427"/>
                    </a:lnTo>
                    <a:lnTo>
                      <a:pt x="1344" y="425"/>
                    </a:lnTo>
                    <a:lnTo>
                      <a:pt x="1293" y="417"/>
                    </a:lnTo>
                    <a:lnTo>
                      <a:pt x="1212" y="404"/>
                    </a:lnTo>
                    <a:lnTo>
                      <a:pt x="808" y="342"/>
                    </a:lnTo>
                    <a:lnTo>
                      <a:pt x="458" y="396"/>
                    </a:lnTo>
                    <a:lnTo>
                      <a:pt x="458" y="396"/>
                    </a:lnTo>
                    <a:lnTo>
                      <a:pt x="18" y="464"/>
                    </a:lnTo>
                    <a:lnTo>
                      <a:pt x="0" y="447"/>
                    </a:lnTo>
                    <a:lnTo>
                      <a:pt x="24" y="117"/>
                    </a:lnTo>
                    <a:lnTo>
                      <a:pt x="785" y="0"/>
                    </a:lnTo>
                    <a:lnTo>
                      <a:pt x="832" y="0"/>
                    </a:lnTo>
                    <a:lnTo>
                      <a:pt x="1212" y="59"/>
                    </a:lnTo>
                    <a:lnTo>
                      <a:pt x="1293" y="72"/>
                    </a:lnTo>
                    <a:lnTo>
                      <a:pt x="1344" y="79"/>
                    </a:lnTo>
                    <a:lnTo>
                      <a:pt x="1349" y="79"/>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a:extLst>
                  <a:ext uri="{FF2B5EF4-FFF2-40B4-BE49-F238E27FC236}">
                    <a16:creationId xmlns:a16="http://schemas.microsoft.com/office/drawing/2014/main" id="{AFB9C6FD-5934-4FE5-9AC5-3DBEDA221D3F}"/>
                  </a:ext>
                </a:extLst>
              </p:cNvPr>
              <p:cNvSpPr>
                <a:spLocks/>
              </p:cNvSpPr>
              <p:nvPr/>
            </p:nvSpPr>
            <p:spPr bwMode="auto">
              <a:xfrm>
                <a:off x="9628188" y="1362075"/>
                <a:ext cx="539750" cy="1168400"/>
              </a:xfrm>
              <a:custGeom>
                <a:avLst/>
                <a:gdLst>
                  <a:gd name="T0" fmla="*/ 0 w 340"/>
                  <a:gd name="T1" fmla="*/ 736 h 736"/>
                  <a:gd name="T2" fmla="*/ 0 w 340"/>
                  <a:gd name="T3" fmla="*/ 0 h 736"/>
                  <a:gd name="T4" fmla="*/ 207 w 340"/>
                  <a:gd name="T5" fmla="*/ 32 h 736"/>
                  <a:gd name="T6" fmla="*/ 340 w 340"/>
                  <a:gd name="T7" fmla="*/ 189 h 736"/>
                  <a:gd name="T8" fmla="*/ 340 w 340"/>
                  <a:gd name="T9" fmla="*/ 593 h 736"/>
                  <a:gd name="T10" fmla="*/ 0 w 340"/>
                  <a:gd name="T11" fmla="*/ 736 h 736"/>
                </a:gdLst>
                <a:ahLst/>
                <a:cxnLst>
                  <a:cxn ang="0">
                    <a:pos x="T0" y="T1"/>
                  </a:cxn>
                  <a:cxn ang="0">
                    <a:pos x="T2" y="T3"/>
                  </a:cxn>
                  <a:cxn ang="0">
                    <a:pos x="T4" y="T5"/>
                  </a:cxn>
                  <a:cxn ang="0">
                    <a:pos x="T6" y="T7"/>
                  </a:cxn>
                  <a:cxn ang="0">
                    <a:pos x="T8" y="T9"/>
                  </a:cxn>
                  <a:cxn ang="0">
                    <a:pos x="T10" y="T11"/>
                  </a:cxn>
                </a:cxnLst>
                <a:rect l="0" t="0" r="r" b="b"/>
                <a:pathLst>
                  <a:path w="340" h="736">
                    <a:moveTo>
                      <a:pt x="0" y="736"/>
                    </a:moveTo>
                    <a:lnTo>
                      <a:pt x="0" y="0"/>
                    </a:lnTo>
                    <a:lnTo>
                      <a:pt x="207" y="32"/>
                    </a:lnTo>
                    <a:lnTo>
                      <a:pt x="340" y="189"/>
                    </a:lnTo>
                    <a:lnTo>
                      <a:pt x="340" y="593"/>
                    </a:lnTo>
                    <a:lnTo>
                      <a:pt x="0" y="736"/>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a:extLst>
                  <a:ext uri="{FF2B5EF4-FFF2-40B4-BE49-F238E27FC236}">
                    <a16:creationId xmlns:a16="http://schemas.microsoft.com/office/drawing/2014/main" id="{A06C62EF-C92C-44AE-AFBC-B958297ABB8B}"/>
                  </a:ext>
                </a:extLst>
              </p:cNvPr>
              <p:cNvSpPr>
                <a:spLocks/>
              </p:cNvSpPr>
              <p:nvPr/>
            </p:nvSpPr>
            <p:spPr bwMode="auto">
              <a:xfrm>
                <a:off x="9499601" y="1341438"/>
                <a:ext cx="128588" cy="568325"/>
              </a:xfrm>
              <a:custGeom>
                <a:avLst/>
                <a:gdLst>
                  <a:gd name="T0" fmla="*/ 0 w 81"/>
                  <a:gd name="T1" fmla="*/ 345 h 358"/>
                  <a:gd name="T2" fmla="*/ 81 w 81"/>
                  <a:gd name="T3" fmla="*/ 358 h 358"/>
                  <a:gd name="T4" fmla="*/ 81 w 81"/>
                  <a:gd name="T5" fmla="*/ 13 h 358"/>
                  <a:gd name="T6" fmla="*/ 0 w 81"/>
                  <a:gd name="T7" fmla="*/ 0 h 358"/>
                  <a:gd name="T8" fmla="*/ 0 w 81"/>
                  <a:gd name="T9" fmla="*/ 345 h 358"/>
                </a:gdLst>
                <a:ahLst/>
                <a:cxnLst>
                  <a:cxn ang="0">
                    <a:pos x="T0" y="T1"/>
                  </a:cxn>
                  <a:cxn ang="0">
                    <a:pos x="T2" y="T3"/>
                  </a:cxn>
                  <a:cxn ang="0">
                    <a:pos x="T4" y="T5"/>
                  </a:cxn>
                  <a:cxn ang="0">
                    <a:pos x="T6" y="T7"/>
                  </a:cxn>
                  <a:cxn ang="0">
                    <a:pos x="T8" y="T9"/>
                  </a:cxn>
                </a:cxnLst>
                <a:rect l="0" t="0" r="r" b="b"/>
                <a:pathLst>
                  <a:path w="81" h="358">
                    <a:moveTo>
                      <a:pt x="0" y="345"/>
                    </a:moveTo>
                    <a:lnTo>
                      <a:pt x="81" y="358"/>
                    </a:lnTo>
                    <a:lnTo>
                      <a:pt x="81" y="13"/>
                    </a:lnTo>
                    <a:lnTo>
                      <a:pt x="0" y="0"/>
                    </a:lnTo>
                    <a:lnTo>
                      <a:pt x="0" y="345"/>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a:extLst>
                  <a:ext uri="{FF2B5EF4-FFF2-40B4-BE49-F238E27FC236}">
                    <a16:creationId xmlns:a16="http://schemas.microsoft.com/office/drawing/2014/main" id="{4D01A2C6-D632-409A-869A-E4129617ED0E}"/>
                  </a:ext>
                </a:extLst>
              </p:cNvPr>
              <p:cNvSpPr>
                <a:spLocks/>
              </p:cNvSpPr>
              <p:nvPr/>
            </p:nvSpPr>
            <p:spPr bwMode="auto">
              <a:xfrm>
                <a:off x="7604126" y="1876425"/>
                <a:ext cx="830263" cy="222250"/>
              </a:xfrm>
              <a:custGeom>
                <a:avLst/>
                <a:gdLst>
                  <a:gd name="T0" fmla="*/ 523 w 523"/>
                  <a:gd name="T1" fmla="*/ 72 h 140"/>
                  <a:gd name="T2" fmla="*/ 81 w 523"/>
                  <a:gd name="T3" fmla="*/ 140 h 140"/>
                  <a:gd name="T4" fmla="*/ 0 w 523"/>
                  <a:gd name="T5" fmla="*/ 68 h 140"/>
                  <a:gd name="T6" fmla="*/ 440 w 523"/>
                  <a:gd name="T7" fmla="*/ 0 h 140"/>
                  <a:gd name="T8" fmla="*/ 440 w 523"/>
                  <a:gd name="T9" fmla="*/ 0 h 140"/>
                  <a:gd name="T10" fmla="*/ 523 w 523"/>
                  <a:gd name="T11" fmla="*/ 72 h 140"/>
                </a:gdLst>
                <a:ahLst/>
                <a:cxnLst>
                  <a:cxn ang="0">
                    <a:pos x="T0" y="T1"/>
                  </a:cxn>
                  <a:cxn ang="0">
                    <a:pos x="T2" y="T3"/>
                  </a:cxn>
                  <a:cxn ang="0">
                    <a:pos x="T4" y="T5"/>
                  </a:cxn>
                  <a:cxn ang="0">
                    <a:pos x="T6" y="T7"/>
                  </a:cxn>
                  <a:cxn ang="0">
                    <a:pos x="T8" y="T9"/>
                  </a:cxn>
                  <a:cxn ang="0">
                    <a:pos x="T10" y="T11"/>
                  </a:cxn>
                </a:cxnLst>
                <a:rect l="0" t="0" r="r" b="b"/>
                <a:pathLst>
                  <a:path w="523" h="140">
                    <a:moveTo>
                      <a:pt x="523" y="72"/>
                    </a:moveTo>
                    <a:lnTo>
                      <a:pt x="81" y="140"/>
                    </a:lnTo>
                    <a:lnTo>
                      <a:pt x="0" y="68"/>
                    </a:lnTo>
                    <a:lnTo>
                      <a:pt x="440" y="0"/>
                    </a:lnTo>
                    <a:lnTo>
                      <a:pt x="440" y="0"/>
                    </a:lnTo>
                    <a:lnTo>
                      <a:pt x="523" y="7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a:extLst>
                  <a:ext uri="{FF2B5EF4-FFF2-40B4-BE49-F238E27FC236}">
                    <a16:creationId xmlns:a16="http://schemas.microsoft.com/office/drawing/2014/main" id="{ED7237ED-178D-47CD-A945-46B301AEFC39}"/>
                  </a:ext>
                </a:extLst>
              </p:cNvPr>
              <p:cNvSpPr>
                <a:spLocks/>
              </p:cNvSpPr>
              <p:nvPr/>
            </p:nvSpPr>
            <p:spPr bwMode="auto">
              <a:xfrm>
                <a:off x="9428163" y="3687763"/>
                <a:ext cx="560388" cy="446088"/>
              </a:xfrm>
              <a:custGeom>
                <a:avLst/>
                <a:gdLst>
                  <a:gd name="T0" fmla="*/ 353 w 353"/>
                  <a:gd name="T1" fmla="*/ 242 h 281"/>
                  <a:gd name="T2" fmla="*/ 274 w 353"/>
                  <a:gd name="T3" fmla="*/ 281 h 281"/>
                  <a:gd name="T4" fmla="*/ 177 w 353"/>
                  <a:gd name="T5" fmla="*/ 196 h 281"/>
                  <a:gd name="T6" fmla="*/ 0 w 353"/>
                  <a:gd name="T7" fmla="*/ 41 h 281"/>
                  <a:gd name="T8" fmla="*/ 79 w 353"/>
                  <a:gd name="T9" fmla="*/ 0 h 281"/>
                  <a:gd name="T10" fmla="*/ 177 w 353"/>
                  <a:gd name="T11" fmla="*/ 87 h 281"/>
                  <a:gd name="T12" fmla="*/ 353 w 353"/>
                  <a:gd name="T13" fmla="*/ 242 h 281"/>
                  <a:gd name="T14" fmla="*/ 353 w 353"/>
                  <a:gd name="T15" fmla="*/ 242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3" h="281">
                    <a:moveTo>
                      <a:pt x="353" y="242"/>
                    </a:moveTo>
                    <a:lnTo>
                      <a:pt x="274" y="281"/>
                    </a:lnTo>
                    <a:lnTo>
                      <a:pt x="177" y="196"/>
                    </a:lnTo>
                    <a:lnTo>
                      <a:pt x="0" y="41"/>
                    </a:lnTo>
                    <a:lnTo>
                      <a:pt x="79" y="0"/>
                    </a:lnTo>
                    <a:lnTo>
                      <a:pt x="177" y="87"/>
                    </a:lnTo>
                    <a:lnTo>
                      <a:pt x="353" y="242"/>
                    </a:lnTo>
                    <a:lnTo>
                      <a:pt x="353" y="242"/>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a:extLst>
                  <a:ext uri="{FF2B5EF4-FFF2-40B4-BE49-F238E27FC236}">
                    <a16:creationId xmlns:a16="http://schemas.microsoft.com/office/drawing/2014/main" id="{A0E5D708-F5AB-419F-AB9E-57A2F9FBE30F}"/>
                  </a:ext>
                </a:extLst>
              </p:cNvPr>
              <p:cNvSpPr>
                <a:spLocks/>
              </p:cNvSpPr>
              <p:nvPr/>
            </p:nvSpPr>
            <p:spPr bwMode="auto">
              <a:xfrm>
                <a:off x="7726363" y="3687763"/>
                <a:ext cx="565150" cy="446088"/>
              </a:xfrm>
              <a:custGeom>
                <a:avLst/>
                <a:gdLst>
                  <a:gd name="T0" fmla="*/ 356 w 356"/>
                  <a:gd name="T1" fmla="*/ 41 h 281"/>
                  <a:gd name="T2" fmla="*/ 79 w 356"/>
                  <a:gd name="T3" fmla="*/ 281 h 281"/>
                  <a:gd name="T4" fmla="*/ 0 w 356"/>
                  <a:gd name="T5" fmla="*/ 242 h 281"/>
                  <a:gd name="T6" fmla="*/ 277 w 356"/>
                  <a:gd name="T7" fmla="*/ 0 h 281"/>
                  <a:gd name="T8" fmla="*/ 356 w 356"/>
                  <a:gd name="T9" fmla="*/ 41 h 281"/>
                </a:gdLst>
                <a:ahLst/>
                <a:cxnLst>
                  <a:cxn ang="0">
                    <a:pos x="T0" y="T1"/>
                  </a:cxn>
                  <a:cxn ang="0">
                    <a:pos x="T2" y="T3"/>
                  </a:cxn>
                  <a:cxn ang="0">
                    <a:pos x="T4" y="T5"/>
                  </a:cxn>
                  <a:cxn ang="0">
                    <a:pos x="T6" y="T7"/>
                  </a:cxn>
                  <a:cxn ang="0">
                    <a:pos x="T8" y="T9"/>
                  </a:cxn>
                </a:cxnLst>
                <a:rect l="0" t="0" r="r" b="b"/>
                <a:pathLst>
                  <a:path w="356" h="281">
                    <a:moveTo>
                      <a:pt x="356" y="41"/>
                    </a:moveTo>
                    <a:lnTo>
                      <a:pt x="79" y="281"/>
                    </a:lnTo>
                    <a:lnTo>
                      <a:pt x="0" y="242"/>
                    </a:lnTo>
                    <a:lnTo>
                      <a:pt x="277" y="0"/>
                    </a:lnTo>
                    <a:lnTo>
                      <a:pt x="356" y="41"/>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 name="Group 17">
            <a:extLst>
              <a:ext uri="{FF2B5EF4-FFF2-40B4-BE49-F238E27FC236}">
                <a16:creationId xmlns:a16="http://schemas.microsoft.com/office/drawing/2014/main" id="{F90B7FE7-2896-46D5-89AC-C6277EFF0C45}"/>
              </a:ext>
            </a:extLst>
          </p:cNvPr>
          <p:cNvGrpSpPr>
            <a:grpSpLocks/>
          </p:cNvGrpSpPr>
          <p:nvPr userDrawn="1"/>
        </p:nvGrpSpPr>
        <p:grpSpPr>
          <a:xfrm>
            <a:off x="864303" y="2022368"/>
            <a:ext cx="2460625" cy="595312"/>
            <a:chOff x="4124325" y="3673475"/>
            <a:chExt cx="2460625" cy="595312"/>
          </a:xfrm>
        </p:grpSpPr>
        <p:sp>
          <p:nvSpPr>
            <p:cNvPr id="19" name="Freeform 44">
              <a:extLst>
                <a:ext uri="{FF2B5EF4-FFF2-40B4-BE49-F238E27FC236}">
                  <a16:creationId xmlns:a16="http://schemas.microsoft.com/office/drawing/2014/main" id="{BE1830D4-FF94-462A-906E-1DF71171EDFE}"/>
                </a:ext>
              </a:extLst>
            </p:cNvPr>
            <p:cNvSpPr>
              <a:spLocks noEditPoints="1"/>
            </p:cNvSpPr>
            <p:nvPr/>
          </p:nvSpPr>
          <p:spPr bwMode="auto">
            <a:xfrm>
              <a:off x="4124325" y="3673475"/>
              <a:ext cx="460375" cy="595312"/>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chemeClr val="bg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43">
              <a:extLst>
                <a:ext uri="{FF2B5EF4-FFF2-40B4-BE49-F238E27FC236}">
                  <a16:creationId xmlns:a16="http://schemas.microsoft.com/office/drawing/2014/main" id="{A9A81A51-71E4-4C37-A509-9F9309D4CB41}"/>
                </a:ext>
              </a:extLst>
            </p:cNvPr>
            <p:cNvSpPr>
              <a:spLocks noEditPoints="1"/>
            </p:cNvSpPr>
            <p:nvPr/>
          </p:nvSpPr>
          <p:spPr bwMode="auto">
            <a:xfrm>
              <a:off x="4854575" y="3830638"/>
              <a:ext cx="1730375" cy="282575"/>
            </a:xfrm>
            <a:custGeom>
              <a:avLst/>
              <a:gdLst>
                <a:gd name="T0" fmla="*/ 1399 w 1571"/>
                <a:gd name="T1" fmla="*/ 169 h 256"/>
                <a:gd name="T2" fmla="*/ 1505 w 1571"/>
                <a:gd name="T3" fmla="*/ 169 h 256"/>
                <a:gd name="T4" fmla="*/ 1471 w 1571"/>
                <a:gd name="T5" fmla="*/ 3 h 256"/>
                <a:gd name="T6" fmla="*/ 1333 w 1571"/>
                <a:gd name="T7" fmla="*/ 252 h 256"/>
                <a:gd name="T8" fmla="*/ 1390 w 1571"/>
                <a:gd name="T9" fmla="*/ 197 h 256"/>
                <a:gd name="T10" fmla="*/ 1536 w 1571"/>
                <a:gd name="T11" fmla="*/ 252 h 256"/>
                <a:gd name="T12" fmla="*/ 1208 w 1571"/>
                <a:gd name="T13" fmla="*/ 252 h 256"/>
                <a:gd name="T14" fmla="*/ 1287 w 1571"/>
                <a:gd name="T15" fmla="*/ 31 h 256"/>
                <a:gd name="T16" fmla="*/ 1098 w 1571"/>
                <a:gd name="T17" fmla="*/ 3 h 256"/>
                <a:gd name="T18" fmla="*/ 1177 w 1571"/>
                <a:gd name="T19" fmla="*/ 31 h 256"/>
                <a:gd name="T20" fmla="*/ 1208 w 1571"/>
                <a:gd name="T21" fmla="*/ 252 h 256"/>
                <a:gd name="T22" fmla="*/ 867 w 1571"/>
                <a:gd name="T23" fmla="*/ 126 h 256"/>
                <a:gd name="T24" fmla="*/ 933 w 1571"/>
                <a:gd name="T25" fmla="*/ 31 h 256"/>
                <a:gd name="T26" fmla="*/ 933 w 1571"/>
                <a:gd name="T27" fmla="*/ 126 h 256"/>
                <a:gd name="T28" fmla="*/ 950 w 1571"/>
                <a:gd name="T29" fmla="*/ 151 h 256"/>
                <a:gd name="T30" fmla="*/ 936 w 1571"/>
                <a:gd name="T31" fmla="*/ 3 h 256"/>
                <a:gd name="T32" fmla="*/ 836 w 1571"/>
                <a:gd name="T33" fmla="*/ 252 h 256"/>
                <a:gd name="T34" fmla="*/ 867 w 1571"/>
                <a:gd name="T35" fmla="*/ 153 h 256"/>
                <a:gd name="T36" fmla="*/ 980 w 1571"/>
                <a:gd name="T37" fmla="*/ 252 h 256"/>
                <a:gd name="T38" fmla="*/ 681 w 1571"/>
                <a:gd name="T39" fmla="*/ 169 h 256"/>
                <a:gd name="T40" fmla="*/ 629 w 1571"/>
                <a:gd name="T41" fmla="*/ 35 h 256"/>
                <a:gd name="T42" fmla="*/ 748 w 1571"/>
                <a:gd name="T43" fmla="*/ 252 h 256"/>
                <a:gd name="T44" fmla="*/ 609 w 1571"/>
                <a:gd name="T45" fmla="*/ 3 h 256"/>
                <a:gd name="T46" fmla="*/ 545 w 1571"/>
                <a:gd name="T47" fmla="*/ 252 h 256"/>
                <a:gd name="T48" fmla="*/ 691 w 1571"/>
                <a:gd name="T49" fmla="*/ 197 h 256"/>
                <a:gd name="T50" fmla="*/ 748 w 1571"/>
                <a:gd name="T51" fmla="*/ 252 h 256"/>
                <a:gd name="T52" fmla="*/ 320 w 1571"/>
                <a:gd name="T53" fmla="*/ 126 h 256"/>
                <a:gd name="T54" fmla="*/ 385 w 1571"/>
                <a:gd name="T55" fmla="*/ 31 h 256"/>
                <a:gd name="T56" fmla="*/ 385 w 1571"/>
                <a:gd name="T57" fmla="*/ 126 h 256"/>
                <a:gd name="T58" fmla="*/ 320 w 1571"/>
                <a:gd name="T59" fmla="*/ 153 h 256"/>
                <a:gd name="T60" fmla="*/ 467 w 1571"/>
                <a:gd name="T61" fmla="*/ 78 h 256"/>
                <a:gd name="T62" fmla="*/ 289 w 1571"/>
                <a:gd name="T63" fmla="*/ 3 h 256"/>
                <a:gd name="T64" fmla="*/ 320 w 1571"/>
                <a:gd name="T65" fmla="*/ 252 h 256"/>
                <a:gd name="T66" fmla="*/ 187 w 1571"/>
                <a:gd name="T67" fmla="*/ 183 h 256"/>
                <a:gd name="T68" fmla="*/ 91 w 1571"/>
                <a:gd name="T69" fmla="*/ 27 h 256"/>
                <a:gd name="T70" fmla="*/ 182 w 1571"/>
                <a:gd name="T71" fmla="*/ 34 h 256"/>
                <a:gd name="T72" fmla="*/ 8 w 1571"/>
                <a:gd name="T73" fmla="*/ 69 h 256"/>
                <a:gd name="T74" fmla="*/ 97 w 1571"/>
                <a:gd name="T75" fmla="*/ 229 h 256"/>
                <a:gd name="T76" fmla="*/ 0 w 1571"/>
                <a:gd name="T77" fmla="*/ 21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6">
                  <a:moveTo>
                    <a:pt x="1505" y="169"/>
                  </a:moveTo>
                  <a:cubicBezTo>
                    <a:pt x="1399" y="169"/>
                    <a:pt x="1399" y="169"/>
                    <a:pt x="1399" y="169"/>
                  </a:cubicBezTo>
                  <a:cubicBezTo>
                    <a:pt x="1452" y="35"/>
                    <a:pt x="1452" y="35"/>
                    <a:pt x="1452" y="35"/>
                  </a:cubicBezTo>
                  <a:lnTo>
                    <a:pt x="1505" y="169"/>
                  </a:lnTo>
                  <a:close/>
                  <a:moveTo>
                    <a:pt x="1571" y="252"/>
                  </a:moveTo>
                  <a:cubicBezTo>
                    <a:pt x="1471" y="3"/>
                    <a:pt x="1471" y="3"/>
                    <a:pt x="1471" y="3"/>
                  </a:cubicBezTo>
                  <a:cubicBezTo>
                    <a:pt x="1433" y="3"/>
                    <a:pt x="1433" y="3"/>
                    <a:pt x="1433" y="3"/>
                  </a:cubicBezTo>
                  <a:cubicBezTo>
                    <a:pt x="1333" y="252"/>
                    <a:pt x="1333" y="252"/>
                    <a:pt x="1333" y="252"/>
                  </a:cubicBezTo>
                  <a:cubicBezTo>
                    <a:pt x="1368" y="252"/>
                    <a:pt x="1368" y="252"/>
                    <a:pt x="1368" y="252"/>
                  </a:cubicBezTo>
                  <a:cubicBezTo>
                    <a:pt x="1390" y="197"/>
                    <a:pt x="1390" y="197"/>
                    <a:pt x="1390" y="197"/>
                  </a:cubicBezTo>
                  <a:cubicBezTo>
                    <a:pt x="1514" y="197"/>
                    <a:pt x="1514" y="197"/>
                    <a:pt x="1514" y="197"/>
                  </a:cubicBezTo>
                  <a:cubicBezTo>
                    <a:pt x="1536" y="252"/>
                    <a:pt x="1536" y="252"/>
                    <a:pt x="1536" y="252"/>
                  </a:cubicBezTo>
                  <a:lnTo>
                    <a:pt x="1571" y="252"/>
                  </a:lnTo>
                  <a:close/>
                  <a:moveTo>
                    <a:pt x="1208" y="252"/>
                  </a:moveTo>
                  <a:cubicBezTo>
                    <a:pt x="1208" y="31"/>
                    <a:pt x="1208" y="31"/>
                    <a:pt x="1208" y="31"/>
                  </a:cubicBezTo>
                  <a:cubicBezTo>
                    <a:pt x="1287" y="31"/>
                    <a:pt x="1287" y="31"/>
                    <a:pt x="1287" y="31"/>
                  </a:cubicBezTo>
                  <a:cubicBezTo>
                    <a:pt x="1287" y="3"/>
                    <a:pt x="1287" y="3"/>
                    <a:pt x="1287" y="3"/>
                  </a:cubicBezTo>
                  <a:cubicBezTo>
                    <a:pt x="1098" y="3"/>
                    <a:pt x="1098" y="3"/>
                    <a:pt x="1098" y="3"/>
                  </a:cubicBezTo>
                  <a:cubicBezTo>
                    <a:pt x="1098" y="31"/>
                    <a:pt x="1098" y="31"/>
                    <a:pt x="1098" y="31"/>
                  </a:cubicBezTo>
                  <a:cubicBezTo>
                    <a:pt x="1177" y="31"/>
                    <a:pt x="1177" y="31"/>
                    <a:pt x="1177" y="31"/>
                  </a:cubicBezTo>
                  <a:cubicBezTo>
                    <a:pt x="1177" y="252"/>
                    <a:pt x="1177" y="252"/>
                    <a:pt x="1177" y="252"/>
                  </a:cubicBezTo>
                  <a:lnTo>
                    <a:pt x="1208" y="252"/>
                  </a:lnTo>
                  <a:close/>
                  <a:moveTo>
                    <a:pt x="933" y="126"/>
                  </a:moveTo>
                  <a:cubicBezTo>
                    <a:pt x="867" y="126"/>
                    <a:pt x="867" y="126"/>
                    <a:pt x="867" y="126"/>
                  </a:cubicBezTo>
                  <a:cubicBezTo>
                    <a:pt x="867" y="31"/>
                    <a:pt x="867" y="31"/>
                    <a:pt x="867" y="31"/>
                  </a:cubicBezTo>
                  <a:cubicBezTo>
                    <a:pt x="933" y="31"/>
                    <a:pt x="933" y="31"/>
                    <a:pt x="933" y="31"/>
                  </a:cubicBezTo>
                  <a:cubicBezTo>
                    <a:pt x="962" y="31"/>
                    <a:pt x="982" y="50"/>
                    <a:pt x="982" y="78"/>
                  </a:cubicBezTo>
                  <a:cubicBezTo>
                    <a:pt x="982" y="106"/>
                    <a:pt x="962" y="126"/>
                    <a:pt x="933" y="126"/>
                  </a:cubicBezTo>
                  <a:close/>
                  <a:moveTo>
                    <a:pt x="1017" y="252"/>
                  </a:moveTo>
                  <a:cubicBezTo>
                    <a:pt x="950" y="151"/>
                    <a:pt x="950" y="151"/>
                    <a:pt x="950" y="151"/>
                  </a:cubicBezTo>
                  <a:cubicBezTo>
                    <a:pt x="984" y="148"/>
                    <a:pt x="1014" y="123"/>
                    <a:pt x="1014" y="78"/>
                  </a:cubicBezTo>
                  <a:cubicBezTo>
                    <a:pt x="1014" y="32"/>
                    <a:pt x="982" y="3"/>
                    <a:pt x="936" y="3"/>
                  </a:cubicBezTo>
                  <a:cubicBezTo>
                    <a:pt x="836" y="3"/>
                    <a:pt x="836" y="3"/>
                    <a:pt x="836" y="3"/>
                  </a:cubicBezTo>
                  <a:cubicBezTo>
                    <a:pt x="836" y="252"/>
                    <a:pt x="836" y="252"/>
                    <a:pt x="836" y="252"/>
                  </a:cubicBezTo>
                  <a:cubicBezTo>
                    <a:pt x="867" y="252"/>
                    <a:pt x="867" y="252"/>
                    <a:pt x="867" y="252"/>
                  </a:cubicBezTo>
                  <a:cubicBezTo>
                    <a:pt x="867" y="153"/>
                    <a:pt x="867" y="153"/>
                    <a:pt x="867" y="153"/>
                  </a:cubicBezTo>
                  <a:cubicBezTo>
                    <a:pt x="917" y="153"/>
                    <a:pt x="917" y="153"/>
                    <a:pt x="917" y="153"/>
                  </a:cubicBezTo>
                  <a:cubicBezTo>
                    <a:pt x="980" y="252"/>
                    <a:pt x="980" y="252"/>
                    <a:pt x="980" y="252"/>
                  </a:cubicBezTo>
                  <a:lnTo>
                    <a:pt x="1017" y="252"/>
                  </a:lnTo>
                  <a:close/>
                  <a:moveTo>
                    <a:pt x="681" y="169"/>
                  </a:moveTo>
                  <a:cubicBezTo>
                    <a:pt x="576" y="169"/>
                    <a:pt x="576" y="169"/>
                    <a:pt x="576" y="169"/>
                  </a:cubicBezTo>
                  <a:cubicBezTo>
                    <a:pt x="629" y="35"/>
                    <a:pt x="629" y="35"/>
                    <a:pt x="629" y="35"/>
                  </a:cubicBezTo>
                  <a:lnTo>
                    <a:pt x="681" y="169"/>
                  </a:lnTo>
                  <a:close/>
                  <a:moveTo>
                    <a:pt x="748" y="252"/>
                  </a:moveTo>
                  <a:cubicBezTo>
                    <a:pt x="648" y="3"/>
                    <a:pt x="648" y="3"/>
                    <a:pt x="648" y="3"/>
                  </a:cubicBezTo>
                  <a:cubicBezTo>
                    <a:pt x="609" y="3"/>
                    <a:pt x="609" y="3"/>
                    <a:pt x="609" y="3"/>
                  </a:cubicBezTo>
                  <a:cubicBezTo>
                    <a:pt x="510" y="252"/>
                    <a:pt x="510" y="252"/>
                    <a:pt x="510" y="252"/>
                  </a:cubicBezTo>
                  <a:cubicBezTo>
                    <a:pt x="545" y="252"/>
                    <a:pt x="545" y="252"/>
                    <a:pt x="545" y="252"/>
                  </a:cubicBezTo>
                  <a:cubicBezTo>
                    <a:pt x="567" y="197"/>
                    <a:pt x="567" y="197"/>
                    <a:pt x="567" y="197"/>
                  </a:cubicBezTo>
                  <a:cubicBezTo>
                    <a:pt x="691" y="197"/>
                    <a:pt x="691" y="197"/>
                    <a:pt x="691" y="197"/>
                  </a:cubicBezTo>
                  <a:cubicBezTo>
                    <a:pt x="713" y="252"/>
                    <a:pt x="713" y="252"/>
                    <a:pt x="713" y="252"/>
                  </a:cubicBezTo>
                  <a:lnTo>
                    <a:pt x="748" y="252"/>
                  </a:lnTo>
                  <a:close/>
                  <a:moveTo>
                    <a:pt x="385" y="126"/>
                  </a:moveTo>
                  <a:cubicBezTo>
                    <a:pt x="320" y="126"/>
                    <a:pt x="320" y="126"/>
                    <a:pt x="320" y="126"/>
                  </a:cubicBezTo>
                  <a:cubicBezTo>
                    <a:pt x="320" y="31"/>
                    <a:pt x="320" y="31"/>
                    <a:pt x="320" y="31"/>
                  </a:cubicBezTo>
                  <a:cubicBezTo>
                    <a:pt x="385" y="31"/>
                    <a:pt x="385" y="31"/>
                    <a:pt x="385" y="31"/>
                  </a:cubicBezTo>
                  <a:cubicBezTo>
                    <a:pt x="415" y="31"/>
                    <a:pt x="435" y="50"/>
                    <a:pt x="435" y="78"/>
                  </a:cubicBezTo>
                  <a:cubicBezTo>
                    <a:pt x="435" y="106"/>
                    <a:pt x="415" y="126"/>
                    <a:pt x="385" y="126"/>
                  </a:cubicBezTo>
                  <a:close/>
                  <a:moveTo>
                    <a:pt x="320" y="252"/>
                  </a:moveTo>
                  <a:cubicBezTo>
                    <a:pt x="320" y="153"/>
                    <a:pt x="320" y="153"/>
                    <a:pt x="320" y="153"/>
                  </a:cubicBezTo>
                  <a:cubicBezTo>
                    <a:pt x="389" y="153"/>
                    <a:pt x="389" y="153"/>
                    <a:pt x="389" y="153"/>
                  </a:cubicBezTo>
                  <a:cubicBezTo>
                    <a:pt x="438" y="153"/>
                    <a:pt x="467" y="119"/>
                    <a:pt x="467" y="78"/>
                  </a:cubicBezTo>
                  <a:cubicBezTo>
                    <a:pt x="467" y="38"/>
                    <a:pt x="439" y="3"/>
                    <a:pt x="389" y="3"/>
                  </a:cubicBezTo>
                  <a:cubicBezTo>
                    <a:pt x="289" y="3"/>
                    <a:pt x="289" y="3"/>
                    <a:pt x="289" y="3"/>
                  </a:cubicBezTo>
                  <a:cubicBezTo>
                    <a:pt x="289" y="252"/>
                    <a:pt x="289" y="252"/>
                    <a:pt x="289" y="252"/>
                  </a:cubicBezTo>
                  <a:lnTo>
                    <a:pt x="320" y="252"/>
                  </a:lnTo>
                  <a:close/>
                  <a:moveTo>
                    <a:pt x="96" y="256"/>
                  </a:moveTo>
                  <a:cubicBezTo>
                    <a:pt x="163" y="256"/>
                    <a:pt x="187" y="219"/>
                    <a:pt x="187" y="183"/>
                  </a:cubicBezTo>
                  <a:cubicBezTo>
                    <a:pt x="187" y="90"/>
                    <a:pt x="40" y="123"/>
                    <a:pt x="40" y="67"/>
                  </a:cubicBezTo>
                  <a:cubicBezTo>
                    <a:pt x="40" y="43"/>
                    <a:pt x="61" y="27"/>
                    <a:pt x="91" y="27"/>
                  </a:cubicBezTo>
                  <a:cubicBezTo>
                    <a:pt x="118" y="27"/>
                    <a:pt x="144" y="36"/>
                    <a:pt x="163" y="57"/>
                  </a:cubicBezTo>
                  <a:cubicBezTo>
                    <a:pt x="182" y="34"/>
                    <a:pt x="182" y="34"/>
                    <a:pt x="182" y="34"/>
                  </a:cubicBezTo>
                  <a:cubicBezTo>
                    <a:pt x="161" y="12"/>
                    <a:pt x="131" y="0"/>
                    <a:pt x="93" y="0"/>
                  </a:cubicBezTo>
                  <a:cubicBezTo>
                    <a:pt x="44" y="0"/>
                    <a:pt x="8" y="28"/>
                    <a:pt x="8" y="69"/>
                  </a:cubicBezTo>
                  <a:cubicBezTo>
                    <a:pt x="8" y="157"/>
                    <a:pt x="155" y="122"/>
                    <a:pt x="155" y="186"/>
                  </a:cubicBezTo>
                  <a:cubicBezTo>
                    <a:pt x="155" y="205"/>
                    <a:pt x="141" y="229"/>
                    <a:pt x="97" y="229"/>
                  </a:cubicBezTo>
                  <a:cubicBezTo>
                    <a:pt x="62" y="229"/>
                    <a:pt x="35" y="212"/>
                    <a:pt x="18" y="193"/>
                  </a:cubicBezTo>
                  <a:cubicBezTo>
                    <a:pt x="0" y="217"/>
                    <a:pt x="0" y="217"/>
                    <a:pt x="0" y="217"/>
                  </a:cubicBezTo>
                  <a:cubicBezTo>
                    <a:pt x="21" y="240"/>
                    <a:pt x="52" y="256"/>
                    <a:pt x="96" y="256"/>
                  </a:cubicBezTo>
                  <a:close/>
                </a:path>
              </a:pathLst>
            </a:custGeom>
            <a:solidFill>
              <a:schemeClr val="bg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5">
              <a:extLst>
                <a:ext uri="{FF2B5EF4-FFF2-40B4-BE49-F238E27FC236}">
                  <a16:creationId xmlns:a16="http://schemas.microsoft.com/office/drawing/2014/main" id="{B719455A-C011-44D7-8455-B246245BAB02}"/>
                </a:ext>
              </a:extLst>
            </p:cNvPr>
            <p:cNvSpPr>
              <a:spLocks noEditPoints="1"/>
            </p:cNvSpPr>
            <p:nvPr/>
          </p:nvSpPr>
          <p:spPr bwMode="auto">
            <a:xfrm>
              <a:off x="4124325" y="3673475"/>
              <a:ext cx="460375" cy="595312"/>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solidFill>
              <a:schemeClr val="bg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4" name="Straight Connector 23">
            <a:extLst>
              <a:ext uri="{FF2B5EF4-FFF2-40B4-BE49-F238E27FC236}">
                <a16:creationId xmlns:a16="http://schemas.microsoft.com/office/drawing/2014/main" id="{0F8E3C4C-4B97-4BF6-B75F-210EC6C806CC}"/>
              </a:ext>
            </a:extLst>
          </p:cNvPr>
          <p:cNvCxnSpPr/>
          <p:nvPr userDrawn="1"/>
        </p:nvCxnSpPr>
        <p:spPr>
          <a:xfrm>
            <a:off x="4737100" y="5615740"/>
            <a:ext cx="0" cy="86400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itle 1">
            <a:extLst>
              <a:ext uri="{FF2B5EF4-FFF2-40B4-BE49-F238E27FC236}">
                <a16:creationId xmlns:a16="http://schemas.microsoft.com/office/drawing/2014/main" id="{7380560F-DC34-4BDD-8E04-6CF0D44F7C14}"/>
              </a:ext>
            </a:extLst>
          </p:cNvPr>
          <p:cNvSpPr>
            <a:spLocks noGrp="1"/>
          </p:cNvSpPr>
          <p:nvPr>
            <p:ph type="title"/>
          </p:nvPr>
        </p:nvSpPr>
        <p:spPr>
          <a:xfrm>
            <a:off x="682712" y="2805574"/>
            <a:ext cx="5925219" cy="1212448"/>
          </a:xfrm>
        </p:spPr>
        <p:txBody>
          <a:bodyPr anchor="ctr"/>
          <a:lstStyle>
            <a:lvl1pPr>
              <a:defRPr sz="4000" b="0">
                <a:solidFill>
                  <a:schemeClr val="bg1"/>
                </a:solidFill>
                <a:latin typeface="+mn-lt"/>
              </a:defRPr>
            </a:lvl1pPr>
          </a:lstStyle>
          <a:p>
            <a:r>
              <a:rPr lang="en-US" dirty="0"/>
              <a:t>Click to edit Master title style</a:t>
            </a:r>
          </a:p>
        </p:txBody>
      </p:sp>
      <p:sp>
        <p:nvSpPr>
          <p:cNvPr id="26" name="Text Placeholder 31">
            <a:extLst>
              <a:ext uri="{FF2B5EF4-FFF2-40B4-BE49-F238E27FC236}">
                <a16:creationId xmlns:a16="http://schemas.microsoft.com/office/drawing/2014/main" id="{16F84A79-3E28-4CB8-85D6-4FE1E95EB96F}"/>
              </a:ext>
            </a:extLst>
          </p:cNvPr>
          <p:cNvSpPr>
            <a:spLocks noGrp="1"/>
          </p:cNvSpPr>
          <p:nvPr>
            <p:ph type="body" sz="quarter" idx="10"/>
          </p:nvPr>
        </p:nvSpPr>
        <p:spPr>
          <a:xfrm>
            <a:off x="682712" y="4000475"/>
            <a:ext cx="5925219" cy="707886"/>
          </a:xfrm>
        </p:spPr>
        <p:txBody>
          <a:bodyPr>
            <a:normAutofit/>
          </a:bodyPr>
          <a:lstStyle>
            <a:lvl1pPr marL="0" indent="0">
              <a:buNone/>
              <a:defRPr sz="2000">
                <a:solidFill>
                  <a:schemeClr val="bg1"/>
                </a:solidFill>
              </a:defRPr>
            </a:lvl1pPr>
            <a:lvl2pPr>
              <a:defRPr sz="1800"/>
            </a:lvl2pPr>
          </a:lstStyle>
          <a:p>
            <a:pPr lvl="0"/>
            <a:r>
              <a:rPr lang="en-US" dirty="0"/>
              <a:t>Edit Master text styles</a:t>
            </a:r>
          </a:p>
        </p:txBody>
      </p:sp>
      <p:sp>
        <p:nvSpPr>
          <p:cNvPr id="27" name="Text Placeholder 31">
            <a:extLst>
              <a:ext uri="{FF2B5EF4-FFF2-40B4-BE49-F238E27FC236}">
                <a16:creationId xmlns:a16="http://schemas.microsoft.com/office/drawing/2014/main" id="{84778B2E-DA88-4BA2-A912-D502A7577A6F}"/>
              </a:ext>
            </a:extLst>
          </p:cNvPr>
          <p:cNvSpPr>
            <a:spLocks noGrp="1"/>
          </p:cNvSpPr>
          <p:nvPr>
            <p:ph type="body" sz="quarter" idx="11"/>
          </p:nvPr>
        </p:nvSpPr>
        <p:spPr>
          <a:xfrm>
            <a:off x="682713" y="5526840"/>
            <a:ext cx="3622581" cy="1077218"/>
          </a:xfrm>
        </p:spPr>
        <p:txBody>
          <a:bodyPr>
            <a:normAutofit/>
          </a:bodyPr>
          <a:lstStyle>
            <a:lvl1pPr marL="0" indent="0">
              <a:buNone/>
              <a:defRPr sz="1800">
                <a:solidFill>
                  <a:schemeClr val="bg1"/>
                </a:solidFill>
              </a:defRPr>
            </a:lvl1pPr>
            <a:lvl2pPr>
              <a:defRPr sz="1800"/>
            </a:lvl2pPr>
          </a:lstStyle>
          <a:p>
            <a:pPr lvl="0"/>
            <a:r>
              <a:rPr lang="en-US" dirty="0"/>
              <a:t>Edit Master text styles</a:t>
            </a:r>
          </a:p>
        </p:txBody>
      </p:sp>
      <p:sp>
        <p:nvSpPr>
          <p:cNvPr id="28" name="Text Placeholder 31">
            <a:extLst>
              <a:ext uri="{FF2B5EF4-FFF2-40B4-BE49-F238E27FC236}">
                <a16:creationId xmlns:a16="http://schemas.microsoft.com/office/drawing/2014/main" id="{79B39514-5928-4292-9A7C-B52CF03CE8D1}"/>
              </a:ext>
            </a:extLst>
          </p:cNvPr>
          <p:cNvSpPr>
            <a:spLocks noGrp="1"/>
          </p:cNvSpPr>
          <p:nvPr>
            <p:ph type="body" sz="quarter" idx="12"/>
          </p:nvPr>
        </p:nvSpPr>
        <p:spPr>
          <a:xfrm>
            <a:off x="5638223" y="5526840"/>
            <a:ext cx="3622581" cy="1077218"/>
          </a:xfrm>
        </p:spPr>
        <p:txBody>
          <a:bodyPr>
            <a:normAutofit/>
          </a:bodyPr>
          <a:lstStyle>
            <a:lvl1pPr marL="0" indent="0">
              <a:buNone/>
              <a:defRPr sz="1800">
                <a:solidFill>
                  <a:schemeClr val="bg1"/>
                </a:solidFill>
              </a:defRPr>
            </a:lvl1pPr>
            <a:lvl2pPr>
              <a:defRPr sz="1800"/>
            </a:lvl2pPr>
          </a:lstStyle>
          <a:p>
            <a:pPr lvl="0"/>
            <a:r>
              <a:rPr lang="en-US" dirty="0"/>
              <a:t>Edit Master text styles</a:t>
            </a:r>
          </a:p>
        </p:txBody>
      </p:sp>
    </p:spTree>
    <p:extLst>
      <p:ext uri="{BB962C8B-B14F-4D97-AF65-F5344CB8AC3E}">
        <p14:creationId xmlns:p14="http://schemas.microsoft.com/office/powerpoint/2010/main" val="2217563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ection Slide 4">
    <p:bg>
      <p:bgPr>
        <a:gradFill>
          <a:gsLst>
            <a:gs pos="5000">
              <a:srgbClr val="1E7BE6"/>
            </a:gs>
            <a:gs pos="100000">
              <a:srgbClr val="74B7F3"/>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913" y="4559300"/>
            <a:ext cx="4814887" cy="481467"/>
          </a:xfrm>
        </p:spPr>
        <p:txBody>
          <a:bodyPr anchor="b">
            <a:noAutofit/>
          </a:bodyPr>
          <a:lstStyle>
            <a:lvl1pPr algn="l">
              <a:defRPr sz="2800">
                <a:solidFill>
                  <a:schemeClr val="bg1"/>
                </a:solidFill>
              </a:defRPr>
            </a:lvl1pPr>
          </a:lstStyle>
          <a:p>
            <a:r>
              <a:rPr lang="en-US"/>
              <a:t>Click to edit Master title style</a:t>
            </a:r>
            <a:endParaRPr lang="en-US" dirty="0"/>
          </a:p>
        </p:txBody>
      </p:sp>
      <p:sp>
        <p:nvSpPr>
          <p:cNvPr id="16" name="Text Placeholder 14"/>
          <p:cNvSpPr>
            <a:spLocks noGrp="1"/>
          </p:cNvSpPr>
          <p:nvPr>
            <p:ph type="body" sz="quarter" idx="10"/>
          </p:nvPr>
        </p:nvSpPr>
        <p:spPr>
          <a:xfrm>
            <a:off x="442913" y="5063331"/>
            <a:ext cx="4814887" cy="998538"/>
          </a:xfrm>
        </p:spPr>
        <p:txBody>
          <a:bodyPr>
            <a:noAutofit/>
          </a:bodyPr>
          <a:lstStyle>
            <a:lvl1pPr marL="0" indent="0" algn="l">
              <a:buNone/>
              <a:defRPr>
                <a:solidFill>
                  <a:schemeClr val="bg1"/>
                </a:solidFill>
              </a:defRPr>
            </a:lvl1pPr>
          </a:lstStyle>
          <a:p>
            <a:pPr lvl="0"/>
            <a:r>
              <a:rPr lang="en-US"/>
              <a:t>Edit Master text styles</a:t>
            </a:r>
          </a:p>
        </p:txBody>
      </p:sp>
      <p:sp>
        <p:nvSpPr>
          <p:cNvPr id="28" name="Freeform 44">
            <a:extLst>
              <a:ext uri="{FF2B5EF4-FFF2-40B4-BE49-F238E27FC236}">
                <a16:creationId xmlns:a16="http://schemas.microsoft.com/office/drawing/2014/main" id="{69196B9C-0D13-41C0-B8B0-CDC040CD2C61}"/>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rgbClr val="13498E">
              <a:alpha val="1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45">
            <a:extLst>
              <a:ext uri="{FF2B5EF4-FFF2-40B4-BE49-F238E27FC236}">
                <a16:creationId xmlns:a16="http://schemas.microsoft.com/office/drawing/2014/main" id="{FA26C795-A228-45BC-9FD6-9F4B38F5758E}"/>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45">
            <a:extLst>
              <a:ext uri="{FF2B5EF4-FFF2-40B4-BE49-F238E27FC236}">
                <a16:creationId xmlns:a16="http://schemas.microsoft.com/office/drawing/2014/main" id="{D9C09283-4AC1-4799-B6D5-659D854FFBA7}"/>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45">
            <a:extLst>
              <a:ext uri="{FF2B5EF4-FFF2-40B4-BE49-F238E27FC236}">
                <a16:creationId xmlns:a16="http://schemas.microsoft.com/office/drawing/2014/main" id="{B8E733FD-A66F-4B7C-9C65-2B4A613C6EEC}"/>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657514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Slide 5">
    <p:bg>
      <p:bgPr>
        <a:gradFill>
          <a:gsLst>
            <a:gs pos="5000">
              <a:srgbClr val="002BC4"/>
            </a:gs>
            <a:gs pos="100000">
              <a:srgbClr val="4B72FF"/>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913" y="4559300"/>
            <a:ext cx="4814887" cy="481467"/>
          </a:xfrm>
        </p:spPr>
        <p:txBody>
          <a:bodyPr anchor="b">
            <a:noAutofit/>
          </a:bodyPr>
          <a:lstStyle>
            <a:lvl1pPr algn="l">
              <a:defRPr sz="2800">
                <a:solidFill>
                  <a:schemeClr val="bg1"/>
                </a:solidFill>
              </a:defRPr>
            </a:lvl1pPr>
          </a:lstStyle>
          <a:p>
            <a:r>
              <a:rPr lang="en-US"/>
              <a:t>Click to edit Master title style</a:t>
            </a:r>
            <a:endParaRPr lang="en-US" dirty="0"/>
          </a:p>
        </p:txBody>
      </p:sp>
      <p:sp>
        <p:nvSpPr>
          <p:cNvPr id="16" name="Text Placeholder 14"/>
          <p:cNvSpPr>
            <a:spLocks noGrp="1"/>
          </p:cNvSpPr>
          <p:nvPr>
            <p:ph type="body" sz="quarter" idx="10"/>
          </p:nvPr>
        </p:nvSpPr>
        <p:spPr>
          <a:xfrm>
            <a:off x="442913" y="5063331"/>
            <a:ext cx="4814887" cy="998538"/>
          </a:xfrm>
        </p:spPr>
        <p:txBody>
          <a:bodyPr>
            <a:noAutofit/>
          </a:bodyPr>
          <a:lstStyle>
            <a:lvl1pPr marL="0" indent="0" algn="l">
              <a:buNone/>
              <a:defRPr>
                <a:solidFill>
                  <a:schemeClr val="bg1"/>
                </a:solidFill>
              </a:defRPr>
            </a:lvl1pPr>
          </a:lstStyle>
          <a:p>
            <a:pPr lvl="0"/>
            <a:r>
              <a:rPr lang="en-US"/>
              <a:t>Edit Master text styles</a:t>
            </a:r>
          </a:p>
        </p:txBody>
      </p:sp>
      <p:sp>
        <p:nvSpPr>
          <p:cNvPr id="28" name="Freeform 44">
            <a:extLst>
              <a:ext uri="{FF2B5EF4-FFF2-40B4-BE49-F238E27FC236}">
                <a16:creationId xmlns:a16="http://schemas.microsoft.com/office/drawing/2014/main" id="{69196B9C-0D13-41C0-B8B0-CDC040CD2C61}"/>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rgbClr val="001F87">
              <a:alpha val="13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45">
            <a:extLst>
              <a:ext uri="{FF2B5EF4-FFF2-40B4-BE49-F238E27FC236}">
                <a16:creationId xmlns:a16="http://schemas.microsoft.com/office/drawing/2014/main" id="{FA26C795-A228-45BC-9FD6-9F4B38F5758E}"/>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45">
            <a:extLst>
              <a:ext uri="{FF2B5EF4-FFF2-40B4-BE49-F238E27FC236}">
                <a16:creationId xmlns:a16="http://schemas.microsoft.com/office/drawing/2014/main" id="{79325E2E-D578-4FA9-9710-062D2477457D}"/>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45">
            <a:extLst>
              <a:ext uri="{FF2B5EF4-FFF2-40B4-BE49-F238E27FC236}">
                <a16:creationId xmlns:a16="http://schemas.microsoft.com/office/drawing/2014/main" id="{16B69240-4263-4F33-A32B-4208362FC4B0}"/>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128978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Slide 6">
    <p:bg>
      <p:bgPr>
        <a:gradFill>
          <a:gsLst>
            <a:gs pos="5000">
              <a:srgbClr val="5A61A0"/>
            </a:gs>
            <a:gs pos="100000">
              <a:srgbClr val="9FA6CF"/>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913" y="4559300"/>
            <a:ext cx="4814887" cy="481467"/>
          </a:xfrm>
        </p:spPr>
        <p:txBody>
          <a:bodyPr anchor="b">
            <a:noAutofit/>
          </a:bodyPr>
          <a:lstStyle>
            <a:lvl1pPr algn="l">
              <a:defRPr sz="2800">
                <a:solidFill>
                  <a:schemeClr val="bg1"/>
                </a:solidFill>
              </a:defRPr>
            </a:lvl1pPr>
          </a:lstStyle>
          <a:p>
            <a:r>
              <a:rPr lang="en-US"/>
              <a:t>Click to edit Master title style</a:t>
            </a:r>
            <a:endParaRPr lang="en-US" dirty="0"/>
          </a:p>
        </p:txBody>
      </p:sp>
      <p:sp>
        <p:nvSpPr>
          <p:cNvPr id="16" name="Text Placeholder 14"/>
          <p:cNvSpPr>
            <a:spLocks noGrp="1"/>
          </p:cNvSpPr>
          <p:nvPr>
            <p:ph type="body" sz="quarter" idx="10"/>
          </p:nvPr>
        </p:nvSpPr>
        <p:spPr>
          <a:xfrm>
            <a:off x="442913" y="5063331"/>
            <a:ext cx="4814887" cy="998538"/>
          </a:xfrm>
        </p:spPr>
        <p:txBody>
          <a:bodyPr>
            <a:noAutofit/>
          </a:bodyPr>
          <a:lstStyle>
            <a:lvl1pPr marL="0" indent="0" algn="l">
              <a:buNone/>
              <a:defRPr>
                <a:solidFill>
                  <a:schemeClr val="bg1"/>
                </a:solidFill>
              </a:defRPr>
            </a:lvl1pPr>
          </a:lstStyle>
          <a:p>
            <a:pPr lvl="0"/>
            <a:r>
              <a:rPr lang="en-US"/>
              <a:t>Edit Master text styles</a:t>
            </a:r>
          </a:p>
        </p:txBody>
      </p:sp>
      <p:sp>
        <p:nvSpPr>
          <p:cNvPr id="28" name="Freeform 44">
            <a:extLst>
              <a:ext uri="{FF2B5EF4-FFF2-40B4-BE49-F238E27FC236}">
                <a16:creationId xmlns:a16="http://schemas.microsoft.com/office/drawing/2014/main" id="{69196B9C-0D13-41C0-B8B0-CDC040CD2C61}"/>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rgbClr val="353A64">
              <a:alpha val="14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45">
            <a:extLst>
              <a:ext uri="{FF2B5EF4-FFF2-40B4-BE49-F238E27FC236}">
                <a16:creationId xmlns:a16="http://schemas.microsoft.com/office/drawing/2014/main" id="{FA26C795-A228-45BC-9FD6-9F4B38F5758E}"/>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45">
            <a:extLst>
              <a:ext uri="{FF2B5EF4-FFF2-40B4-BE49-F238E27FC236}">
                <a16:creationId xmlns:a16="http://schemas.microsoft.com/office/drawing/2014/main" id="{79325E2E-D578-4FA9-9710-062D2477457D}"/>
              </a:ext>
            </a:extLst>
          </p:cNvPr>
          <p:cNvSpPr>
            <a:spLocks noEditPoints="1"/>
          </p:cNvSpPr>
          <p:nvPr/>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45">
            <a:extLst>
              <a:ext uri="{FF2B5EF4-FFF2-40B4-BE49-F238E27FC236}">
                <a16:creationId xmlns:a16="http://schemas.microsoft.com/office/drawing/2014/main" id="{07B46B3D-3EFC-48A1-93E2-C96F6D881EF6}"/>
              </a:ext>
            </a:extLst>
          </p:cNvPr>
          <p:cNvSpPr>
            <a:spLocks noEditPoints="1"/>
          </p:cNvSpPr>
          <p:nvPr userDrawn="1"/>
        </p:nvSpPr>
        <p:spPr bwMode="auto">
          <a:xfrm>
            <a:off x="7224712" y="1050106"/>
            <a:ext cx="3633788" cy="4698860"/>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321323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911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pictur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15382480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ing_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00" name="think-cell Slide" r:id="rId13" imgW="270" imgH="270" progId="TCLayout.ActiveDocument.1">
                  <p:embed/>
                </p:oleObj>
              </mc:Choice>
              <mc:Fallback>
                <p:oleObj name="think-cell Slide" r:id="rId13" imgW="270" imgH="270" progId="TCLayout.ActiveDocument.1">
                  <p:embed/>
                  <p:pic>
                    <p:nvPicPr>
                      <p:cNvPr id="7" name="Object 6"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sp>
        <p:nvSpPr>
          <p:cNvPr id="8" name="Picture Placeholder 7"/>
          <p:cNvSpPr>
            <a:spLocks noGrp="1"/>
          </p:cNvSpPr>
          <p:nvPr>
            <p:ph type="pic" sz="quarter" idx="13"/>
          </p:nvPr>
        </p:nvSpPr>
        <p:spPr>
          <a:xfrm>
            <a:off x="0" y="0"/>
            <a:ext cx="4173967" cy="6858000"/>
          </a:xfrm>
        </p:spPr>
        <p:txBody>
          <a:bodyPr/>
          <a:lstStyle/>
          <a:p>
            <a:r>
              <a:rPr lang="en-US"/>
              <a:t>Click icon to add picture</a:t>
            </a:r>
          </a:p>
        </p:txBody>
      </p:sp>
      <p:sp>
        <p:nvSpPr>
          <p:cNvPr id="9" name="Picture Placeholder 14"/>
          <p:cNvSpPr>
            <a:spLocks noGrp="1"/>
          </p:cNvSpPr>
          <p:nvPr>
            <p:ph type="pic" sz="quarter" idx="14"/>
          </p:nvPr>
        </p:nvSpPr>
        <p:spPr>
          <a:xfrm>
            <a:off x="2913967" y="2169000"/>
            <a:ext cx="2520000" cy="2520000"/>
          </a:xfrm>
          <a:prstGeom prst="ellipse">
            <a:avLst/>
          </a:prstGeom>
          <a:solidFill>
            <a:schemeClr val="bg1">
              <a:lumMod val="100000"/>
            </a:schemeClr>
          </a:solidFill>
          <a:ln w="25400" cap="flat" cmpd="sng" algn="ctr">
            <a:solidFill>
              <a:schemeClr val="bg1">
                <a:lumMod val="65000"/>
              </a:schemeClr>
            </a:solidFill>
            <a:prstDash val="solid"/>
            <a:round/>
            <a:headEnd type="none" w="med" len="med"/>
            <a:tailEnd type="none" w="med" len="med"/>
          </a:ln>
        </p:spPr>
        <p:txBody>
          <a:bodyPr wrap="square">
            <a:noAutofit/>
          </a:bodyPr>
          <a:lstStyle/>
          <a:p>
            <a:r>
              <a:rPr lang="en-US"/>
              <a:t>Click icon to add picture</a:t>
            </a:r>
            <a:endParaRPr lang="sr-Latn-RS"/>
          </a:p>
        </p:txBody>
      </p:sp>
      <p:sp>
        <p:nvSpPr>
          <p:cNvPr id="16" name="Text Placeholder 8"/>
          <p:cNvSpPr>
            <a:spLocks noGrp="1"/>
          </p:cNvSpPr>
          <p:nvPr>
            <p:ph type="body" sz="quarter" idx="12"/>
          </p:nvPr>
        </p:nvSpPr>
        <p:spPr>
          <a:xfrm>
            <a:off x="5757934" y="2385597"/>
            <a:ext cx="4520201" cy="432000"/>
          </a:xfrm>
        </p:spPr>
        <p:txBody>
          <a:bodyPr anchor="t">
            <a:noAutofit/>
          </a:bodyPr>
          <a:lstStyle>
            <a:lvl1pPr marL="0" indent="0" algn="l">
              <a:spcBef>
                <a:spcPts val="300"/>
              </a:spcBef>
              <a:buNone/>
              <a:defRPr sz="2800" b="1">
                <a:solidFill>
                  <a:schemeClr val="accent2"/>
                </a:solidFill>
              </a:defRPr>
            </a:lvl1pPr>
          </a:lstStyle>
          <a:p>
            <a:pPr lvl="0"/>
            <a:r>
              <a:rPr lang="en-US"/>
              <a:t>Edit Master text styles</a:t>
            </a:r>
          </a:p>
        </p:txBody>
      </p:sp>
      <p:sp>
        <p:nvSpPr>
          <p:cNvPr id="17" name="Text Placeholder 8"/>
          <p:cNvSpPr>
            <a:spLocks noGrp="1"/>
          </p:cNvSpPr>
          <p:nvPr>
            <p:ph type="body" sz="quarter" idx="15"/>
          </p:nvPr>
        </p:nvSpPr>
        <p:spPr>
          <a:xfrm>
            <a:off x="5757934" y="2846547"/>
            <a:ext cx="4520201" cy="288000"/>
          </a:xfrm>
        </p:spPr>
        <p:txBody>
          <a:bodyPr anchor="t">
            <a:noAutofit/>
          </a:bodyPr>
          <a:lstStyle>
            <a:lvl1pPr marL="0" indent="0" algn="l">
              <a:spcBef>
                <a:spcPts val="300"/>
              </a:spcBef>
              <a:buNone/>
              <a:defRPr sz="1800" b="0" i="0">
                <a:solidFill>
                  <a:schemeClr val="accent1"/>
                </a:solidFill>
              </a:defRPr>
            </a:lvl1pPr>
          </a:lstStyle>
          <a:p>
            <a:pPr lvl="0"/>
            <a:r>
              <a:rPr lang="en-US"/>
              <a:t>Edit Master text styles</a:t>
            </a:r>
          </a:p>
        </p:txBody>
      </p:sp>
      <p:sp>
        <p:nvSpPr>
          <p:cNvPr id="18" name="Text Placeholder 8"/>
          <p:cNvSpPr>
            <a:spLocks noGrp="1"/>
          </p:cNvSpPr>
          <p:nvPr>
            <p:ph type="body" sz="quarter" idx="16"/>
          </p:nvPr>
        </p:nvSpPr>
        <p:spPr>
          <a:xfrm>
            <a:off x="5757934" y="3190133"/>
            <a:ext cx="4520201" cy="1376754"/>
          </a:xfrm>
        </p:spPr>
        <p:txBody>
          <a:bodyPr anchor="t">
            <a:noAutofit/>
          </a:bodyPr>
          <a:lstStyle>
            <a:lvl1pPr marL="0" indent="0" algn="l">
              <a:spcBef>
                <a:spcPts val="300"/>
              </a:spcBef>
              <a:buNone/>
              <a:defRPr sz="1800" b="0" i="0" u="none">
                <a:solidFill>
                  <a:schemeClr val="tx1"/>
                </a:solidFill>
              </a:defRPr>
            </a:lvl1pPr>
          </a:lstStyle>
          <a:p>
            <a:pPr lvl="0"/>
            <a:r>
              <a:rPr lang="en-US"/>
              <a:t>Edit Master text styles</a:t>
            </a:r>
          </a:p>
        </p:txBody>
      </p:sp>
      <p:graphicFrame>
        <p:nvGraphicFramePr>
          <p:cNvPr id="10" name="Object 9" hidden="1">
            <a:extLst>
              <a:ext uri="{FF2B5EF4-FFF2-40B4-BE49-F238E27FC236}">
                <a16:creationId xmlns:a16="http://schemas.microsoft.com/office/drawing/2014/main" id="{7110513B-FB06-4F25-A0C3-6C3CD462F870}"/>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01" name="think-cell Slide" r:id="rId15" imgW="270" imgH="270" progId="TCLayout.ActiveDocument.1">
                  <p:embed/>
                </p:oleObj>
              </mc:Choice>
              <mc:Fallback>
                <p:oleObj name="think-cell Slide" r:id="rId15" imgW="270" imgH="270" progId="TCLayout.ActiveDocument.1">
                  <p:embed/>
                  <p:pic>
                    <p:nvPicPr>
                      <p:cNvPr id="10" name="Object 9" hidden="1">
                        <a:extLst>
                          <a:ext uri="{FF2B5EF4-FFF2-40B4-BE49-F238E27FC236}">
                            <a16:creationId xmlns:a16="http://schemas.microsoft.com/office/drawing/2014/main" id="{7110513B-FB06-4F25-A0C3-6C3CD462F87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033B574-531E-4D27-BBE9-BD1327EA553A}"/>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aphicFrame>
        <p:nvGraphicFramePr>
          <p:cNvPr id="12" name="Object 11" hidden="1">
            <a:extLst>
              <a:ext uri="{FF2B5EF4-FFF2-40B4-BE49-F238E27FC236}">
                <a16:creationId xmlns:a16="http://schemas.microsoft.com/office/drawing/2014/main" id="{9D22E462-55A6-429E-8BE9-A45F747E9D7B}"/>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02" name="think-cell Slide" r:id="rId16" imgW="270" imgH="270" progId="TCLayout.ActiveDocument.1">
                  <p:embed/>
                </p:oleObj>
              </mc:Choice>
              <mc:Fallback>
                <p:oleObj name="think-cell Slide" r:id="rId16" imgW="270" imgH="270" progId="TCLayout.ActiveDocument.1">
                  <p:embed/>
                  <p:pic>
                    <p:nvPicPr>
                      <p:cNvPr id="12" name="Object 11" hidden="1">
                        <a:extLst>
                          <a:ext uri="{FF2B5EF4-FFF2-40B4-BE49-F238E27FC236}">
                            <a16:creationId xmlns:a16="http://schemas.microsoft.com/office/drawing/2014/main" id="{9D22E462-55A6-429E-8BE9-A45F747E9D7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2449987F-5EFF-43A4-A612-55F8334D88B5}"/>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aphicFrame>
        <p:nvGraphicFramePr>
          <p:cNvPr id="14" name="Object 13" hidden="1">
            <a:extLst>
              <a:ext uri="{FF2B5EF4-FFF2-40B4-BE49-F238E27FC236}">
                <a16:creationId xmlns:a16="http://schemas.microsoft.com/office/drawing/2014/main" id="{586C393D-8CF9-4854-90E6-67DAB62D7CE7}"/>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03" name="think-cell Slide" r:id="rId17" imgW="270" imgH="270" progId="TCLayout.ActiveDocument.1">
                  <p:embed/>
                </p:oleObj>
              </mc:Choice>
              <mc:Fallback>
                <p:oleObj name="think-cell Slide" r:id="rId17" imgW="270" imgH="270" progId="TCLayout.ActiveDocument.1">
                  <p:embed/>
                  <p:pic>
                    <p:nvPicPr>
                      <p:cNvPr id="14" name="Object 13" hidden="1">
                        <a:extLst>
                          <a:ext uri="{FF2B5EF4-FFF2-40B4-BE49-F238E27FC236}">
                            <a16:creationId xmlns:a16="http://schemas.microsoft.com/office/drawing/2014/main" id="{586C393D-8CF9-4854-90E6-67DAB62D7CE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F1E38463-3513-4AF0-A6D2-B2176D9EC345}"/>
              </a:ext>
            </a:extLst>
          </p:cNvPr>
          <p:cNvSpPr/>
          <p:nvPr>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aphicFrame>
        <p:nvGraphicFramePr>
          <p:cNvPr id="19" name="Object 18" hidden="1">
            <a:extLst>
              <a:ext uri="{FF2B5EF4-FFF2-40B4-BE49-F238E27FC236}">
                <a16:creationId xmlns:a16="http://schemas.microsoft.com/office/drawing/2014/main" id="{31089EFB-747E-4AE1-A818-EF658C15C7C0}"/>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04" name="think-cell Slide" r:id="rId18" imgW="270" imgH="270" progId="TCLayout.ActiveDocument.1">
                  <p:embed/>
                </p:oleObj>
              </mc:Choice>
              <mc:Fallback>
                <p:oleObj name="think-cell Slide" r:id="rId18" imgW="270" imgH="270" progId="TCLayout.ActiveDocument.1">
                  <p:embed/>
                  <p:pic>
                    <p:nvPicPr>
                      <p:cNvPr id="14" name="Object 13" hidden="1">
                        <a:extLst>
                          <a:ext uri="{FF2B5EF4-FFF2-40B4-BE49-F238E27FC236}">
                            <a16:creationId xmlns:a16="http://schemas.microsoft.com/office/drawing/2014/main" id="{586C393D-8CF9-4854-90E6-67DAB62D7CE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EA5A013E-D170-49D7-A8CD-10BC71145E9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spTree>
    <p:extLst>
      <p:ext uri="{BB962C8B-B14F-4D97-AF65-F5344CB8AC3E}">
        <p14:creationId xmlns:p14="http://schemas.microsoft.com/office/powerpoint/2010/main" val="3561444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pictur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9"/>
          <p:cNvSpPr>
            <a:spLocks noGrp="1"/>
          </p:cNvSpPr>
          <p:nvPr>
            <p:ph type="body" sz="quarter" idx="14"/>
          </p:nvPr>
        </p:nvSpPr>
        <p:spPr>
          <a:xfrm>
            <a:off x="442911" y="4505325"/>
            <a:ext cx="10368001" cy="1803400"/>
          </a:xfrm>
          <a:prstGeom prst="rect">
            <a:avLst/>
          </a:prstGeom>
        </p:spPr>
        <p:txBody>
          <a:bodyPr anchor="t">
            <a:noAutofit/>
          </a:bodyPr>
          <a:lstStyle>
            <a:lvl1pPr marL="0" indent="0" algn="just">
              <a:buNone/>
              <a:defRPr sz="1600"/>
            </a:lvl1pPr>
          </a:lstStyle>
          <a:p>
            <a:pPr lvl="0"/>
            <a:r>
              <a:rPr lang="en-US"/>
              <a:t>Edit Master text styles</a:t>
            </a:r>
          </a:p>
        </p:txBody>
      </p:sp>
      <p:sp>
        <p:nvSpPr>
          <p:cNvPr id="13" name="Picture Placeholder 12">
            <a:extLst>
              <a:ext uri="{FF2B5EF4-FFF2-40B4-BE49-F238E27FC236}">
                <a16:creationId xmlns:a16="http://schemas.microsoft.com/office/drawing/2014/main" id="{0F591CB7-A523-441B-8478-657A83BAA29D}"/>
              </a:ext>
            </a:extLst>
          </p:cNvPr>
          <p:cNvSpPr>
            <a:spLocks noGrp="1"/>
          </p:cNvSpPr>
          <p:nvPr>
            <p:ph type="pic" sz="quarter" idx="15"/>
          </p:nvPr>
        </p:nvSpPr>
        <p:spPr>
          <a:xfrm>
            <a:off x="0" y="1341438"/>
            <a:ext cx="11453586" cy="2887662"/>
          </a:xfrm>
          <a:custGeom>
            <a:avLst/>
            <a:gdLst>
              <a:gd name="connsiteX0" fmla="*/ 0 w 11453586"/>
              <a:gd name="connsiteY0" fmla="*/ 0 h 2887662"/>
              <a:gd name="connsiteX1" fmla="*/ 11453586 w 11453586"/>
              <a:gd name="connsiteY1" fmla="*/ 0 h 2887662"/>
              <a:gd name="connsiteX2" fmla="*/ 11265494 w 11453586"/>
              <a:gd name="connsiteY2" fmla="*/ 1567043 h 2887662"/>
              <a:gd name="connsiteX3" fmla="*/ 11010900 w 11453586"/>
              <a:gd name="connsiteY3" fmla="*/ 1999148 h 2887662"/>
              <a:gd name="connsiteX4" fmla="*/ 11207607 w 11453586"/>
              <a:gd name="connsiteY4" fmla="*/ 2887662 h 2887662"/>
              <a:gd name="connsiteX5" fmla="*/ 0 w 11453586"/>
              <a:gd name="connsiteY5" fmla="*/ 2887662 h 288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3586" h="2887662">
                <a:moveTo>
                  <a:pt x="0" y="0"/>
                </a:moveTo>
                <a:lnTo>
                  <a:pt x="11453586" y="0"/>
                </a:lnTo>
                <a:lnTo>
                  <a:pt x="11265494" y="1567043"/>
                </a:lnTo>
                <a:lnTo>
                  <a:pt x="11010900" y="1999148"/>
                </a:lnTo>
                <a:lnTo>
                  <a:pt x="11207607" y="2887662"/>
                </a:lnTo>
                <a:lnTo>
                  <a:pt x="0" y="2887662"/>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99695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_Images">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712494" y="1797051"/>
            <a:ext cx="3058080" cy="2160000"/>
          </a:xfrm>
          <a:prstGeom prst="rect">
            <a:avLst/>
          </a:prstGeom>
        </p:spPr>
        <p:txBody>
          <a:bodyPr/>
          <a:lstStyle/>
          <a:p>
            <a:r>
              <a:rPr lang="en-US"/>
              <a:t>Click icon to add picture</a:t>
            </a:r>
            <a:endParaRPr lang="en-US" dirty="0"/>
          </a:p>
        </p:txBody>
      </p:sp>
      <p:sp>
        <p:nvSpPr>
          <p:cNvPr id="10" name="Text Placeholder 9"/>
          <p:cNvSpPr>
            <a:spLocks noGrp="1"/>
          </p:cNvSpPr>
          <p:nvPr>
            <p:ph type="body" sz="quarter" idx="13"/>
          </p:nvPr>
        </p:nvSpPr>
        <p:spPr>
          <a:xfrm>
            <a:off x="695560" y="4178300"/>
            <a:ext cx="3074957" cy="383117"/>
          </a:xfrm>
          <a:prstGeom prst="rect">
            <a:avLst/>
          </a:prstGeom>
        </p:spPr>
        <p:txBody>
          <a:bodyPr>
            <a:noAutofit/>
          </a:bodyPr>
          <a:lstStyle>
            <a:lvl1pPr marL="0" indent="0" algn="ctr">
              <a:buNone/>
              <a:defRPr sz="2000" b="1">
                <a:solidFill>
                  <a:schemeClr val="accent1"/>
                </a:solidFill>
                <a:latin typeface="+mj-lt"/>
              </a:defRPr>
            </a:lvl1pPr>
          </a:lstStyle>
          <a:p>
            <a:pPr lvl="0"/>
            <a:r>
              <a:rPr lang="en-US"/>
              <a:t>Edit Master text styles</a:t>
            </a:r>
          </a:p>
        </p:txBody>
      </p:sp>
      <p:sp>
        <p:nvSpPr>
          <p:cNvPr id="11" name="Text Placeholder 9"/>
          <p:cNvSpPr>
            <a:spLocks noGrp="1"/>
          </p:cNvSpPr>
          <p:nvPr>
            <p:ph type="body" sz="quarter" idx="14"/>
          </p:nvPr>
        </p:nvSpPr>
        <p:spPr>
          <a:xfrm>
            <a:off x="695560" y="4623043"/>
            <a:ext cx="3058080" cy="1253882"/>
          </a:xfrm>
          <a:prstGeom prst="rect">
            <a:avLst/>
          </a:prstGeom>
        </p:spPr>
        <p:txBody>
          <a:bodyPr>
            <a:noAutofit/>
          </a:bodyPr>
          <a:lstStyle>
            <a:lvl1pPr marL="0" indent="0" algn="ctr">
              <a:buNone/>
              <a:defRPr sz="1400"/>
            </a:lvl1pPr>
          </a:lstStyle>
          <a:p>
            <a:pPr lvl="0"/>
            <a:r>
              <a:rPr lang="en-US"/>
              <a:t>Edit Master text styles</a:t>
            </a:r>
          </a:p>
        </p:txBody>
      </p:sp>
      <p:sp>
        <p:nvSpPr>
          <p:cNvPr id="12" name="Text Placeholder 9"/>
          <p:cNvSpPr>
            <a:spLocks noGrp="1"/>
          </p:cNvSpPr>
          <p:nvPr>
            <p:ph type="body" sz="quarter" idx="15"/>
          </p:nvPr>
        </p:nvSpPr>
        <p:spPr>
          <a:xfrm>
            <a:off x="4073043" y="4178300"/>
            <a:ext cx="3058024" cy="383117"/>
          </a:xfrm>
          <a:prstGeom prst="rect">
            <a:avLst/>
          </a:prstGeom>
        </p:spPr>
        <p:txBody>
          <a:bodyPr>
            <a:noAutofit/>
          </a:bodyPr>
          <a:lstStyle>
            <a:lvl1pPr marL="0" indent="0" algn="ctr">
              <a:buNone/>
              <a:defRPr sz="2000" b="1">
                <a:solidFill>
                  <a:schemeClr val="accent1"/>
                </a:solidFill>
                <a:latin typeface="+mj-lt"/>
              </a:defRPr>
            </a:lvl1pPr>
          </a:lstStyle>
          <a:p>
            <a:pPr lvl="0"/>
            <a:r>
              <a:rPr lang="en-US"/>
              <a:t>Edit Master text styles</a:t>
            </a:r>
          </a:p>
        </p:txBody>
      </p:sp>
      <p:sp>
        <p:nvSpPr>
          <p:cNvPr id="13" name="Text Placeholder 9"/>
          <p:cNvSpPr>
            <a:spLocks noGrp="1"/>
          </p:cNvSpPr>
          <p:nvPr>
            <p:ph type="body" sz="quarter" idx="16"/>
          </p:nvPr>
        </p:nvSpPr>
        <p:spPr>
          <a:xfrm>
            <a:off x="4056109" y="4623043"/>
            <a:ext cx="3058080" cy="1253882"/>
          </a:xfrm>
          <a:prstGeom prst="rect">
            <a:avLst/>
          </a:prstGeom>
        </p:spPr>
        <p:txBody>
          <a:bodyPr>
            <a:noAutofit/>
          </a:bodyPr>
          <a:lstStyle>
            <a:lvl1pPr marL="0" indent="0" algn="ctr">
              <a:buNone/>
              <a:defRPr sz="1400"/>
            </a:lvl1pPr>
          </a:lstStyle>
          <a:p>
            <a:pPr lvl="0"/>
            <a:r>
              <a:rPr lang="en-US"/>
              <a:t>Edit Master text styles</a:t>
            </a:r>
          </a:p>
        </p:txBody>
      </p:sp>
      <p:sp>
        <p:nvSpPr>
          <p:cNvPr id="14" name="Text Placeholder 9"/>
          <p:cNvSpPr>
            <a:spLocks noGrp="1"/>
          </p:cNvSpPr>
          <p:nvPr>
            <p:ph type="body" sz="quarter" idx="17"/>
          </p:nvPr>
        </p:nvSpPr>
        <p:spPr>
          <a:xfrm>
            <a:off x="7416715" y="4178300"/>
            <a:ext cx="3074957" cy="383117"/>
          </a:xfrm>
          <a:prstGeom prst="rect">
            <a:avLst/>
          </a:prstGeom>
        </p:spPr>
        <p:txBody>
          <a:bodyPr>
            <a:noAutofit/>
          </a:bodyPr>
          <a:lstStyle>
            <a:lvl1pPr marL="0" indent="0" algn="ctr">
              <a:buNone/>
              <a:defRPr sz="2000" b="1">
                <a:solidFill>
                  <a:schemeClr val="accent1"/>
                </a:solidFill>
                <a:latin typeface="+mj-lt"/>
              </a:defRPr>
            </a:lvl1pPr>
          </a:lstStyle>
          <a:p>
            <a:pPr lvl="0"/>
            <a:r>
              <a:rPr lang="en-US"/>
              <a:t>Edit Master text styles</a:t>
            </a:r>
          </a:p>
        </p:txBody>
      </p:sp>
      <p:sp>
        <p:nvSpPr>
          <p:cNvPr id="15" name="Text Placeholder 9"/>
          <p:cNvSpPr>
            <a:spLocks noGrp="1"/>
          </p:cNvSpPr>
          <p:nvPr>
            <p:ph type="body" sz="quarter" idx="18"/>
          </p:nvPr>
        </p:nvSpPr>
        <p:spPr>
          <a:xfrm>
            <a:off x="7416715" y="4623043"/>
            <a:ext cx="3058080" cy="1253882"/>
          </a:xfrm>
          <a:prstGeom prst="rect">
            <a:avLst/>
          </a:prstGeom>
        </p:spPr>
        <p:txBody>
          <a:bodyPr>
            <a:noAutofit/>
          </a:bodyPr>
          <a:lstStyle>
            <a:lvl1pPr marL="0" indent="0" algn="ctr">
              <a:buNone/>
              <a:defRPr sz="1400"/>
            </a:lvl1pPr>
          </a:lstStyle>
          <a:p>
            <a:pPr lvl="0"/>
            <a:r>
              <a:rPr lang="en-US"/>
              <a:t>Edit Master text styles</a:t>
            </a:r>
          </a:p>
        </p:txBody>
      </p:sp>
      <p:sp>
        <p:nvSpPr>
          <p:cNvPr id="16" name="Picture Placeholder 5"/>
          <p:cNvSpPr>
            <a:spLocks noGrp="1"/>
          </p:cNvSpPr>
          <p:nvPr>
            <p:ph type="pic" sz="quarter" idx="22"/>
          </p:nvPr>
        </p:nvSpPr>
        <p:spPr>
          <a:xfrm>
            <a:off x="4073043" y="1797051"/>
            <a:ext cx="3058080" cy="2160000"/>
          </a:xfrm>
          <a:prstGeom prst="rect">
            <a:avLst/>
          </a:prstGeom>
        </p:spPr>
        <p:txBody>
          <a:bodyPr/>
          <a:lstStyle/>
          <a:p>
            <a:r>
              <a:rPr lang="en-US"/>
              <a:t>Click icon to add picture</a:t>
            </a:r>
          </a:p>
        </p:txBody>
      </p:sp>
      <p:sp>
        <p:nvSpPr>
          <p:cNvPr id="17" name="Picture Placeholder 5"/>
          <p:cNvSpPr>
            <a:spLocks noGrp="1"/>
          </p:cNvSpPr>
          <p:nvPr>
            <p:ph type="pic" sz="quarter" idx="23"/>
          </p:nvPr>
        </p:nvSpPr>
        <p:spPr>
          <a:xfrm>
            <a:off x="7433592" y="1797051"/>
            <a:ext cx="3058080" cy="2160000"/>
          </a:xfrm>
          <a:prstGeom prst="rect">
            <a:avLst/>
          </a:prstGeom>
        </p:spPr>
        <p:txBody>
          <a:bodyPr/>
          <a:lstStyle/>
          <a:p>
            <a:r>
              <a:rPr lang="en-US"/>
              <a:t>Click icon to add pictur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16197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three circular images">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210043" y="1572462"/>
            <a:ext cx="2206800" cy="2207683"/>
          </a:xfrm>
          <a:prstGeom prst="ellipse">
            <a:avLst/>
          </a:prstGeom>
          <a:ln w="38100" cap="flat" cmpd="sng" algn="ctr">
            <a:solidFill>
              <a:schemeClr val="bg1">
                <a:lumMod val="65000"/>
              </a:schemeClr>
            </a:solidFill>
            <a:prstDash val="solid"/>
            <a:round/>
            <a:headEnd type="none" w="med" len="med"/>
            <a:tailEnd type="none" w="med" len="med"/>
          </a:ln>
        </p:spPr>
        <p:txBody>
          <a:bodyPr/>
          <a:lstStyle/>
          <a:p>
            <a:r>
              <a:rPr lang="en-US"/>
              <a:t>Click icon to add picture</a:t>
            </a:r>
          </a:p>
        </p:txBody>
      </p:sp>
      <p:sp>
        <p:nvSpPr>
          <p:cNvPr id="7" name="Picture Placeholder 5"/>
          <p:cNvSpPr>
            <a:spLocks noGrp="1"/>
          </p:cNvSpPr>
          <p:nvPr>
            <p:ph type="pic" sz="quarter" idx="11"/>
          </p:nvPr>
        </p:nvSpPr>
        <p:spPr>
          <a:xfrm>
            <a:off x="4570649" y="1572462"/>
            <a:ext cx="2206800" cy="2207683"/>
          </a:xfrm>
          <a:prstGeom prst="ellipse">
            <a:avLst/>
          </a:prstGeom>
          <a:ln w="38100" cap="flat" cmpd="sng" algn="ctr">
            <a:solidFill>
              <a:schemeClr val="bg1">
                <a:lumMod val="65000"/>
              </a:schemeClr>
            </a:solidFill>
            <a:prstDash val="solid"/>
            <a:round/>
            <a:headEnd type="none" w="med" len="med"/>
            <a:tailEnd type="none" w="med" len="med"/>
          </a:ln>
        </p:spPr>
        <p:txBody>
          <a:bodyPr/>
          <a:lstStyle/>
          <a:p>
            <a:r>
              <a:rPr lang="en-US"/>
              <a:t>Click icon to add picture</a:t>
            </a:r>
          </a:p>
        </p:txBody>
      </p:sp>
      <p:sp>
        <p:nvSpPr>
          <p:cNvPr id="8" name="Picture Placeholder 5"/>
          <p:cNvSpPr>
            <a:spLocks noGrp="1"/>
          </p:cNvSpPr>
          <p:nvPr>
            <p:ph type="pic" sz="quarter" idx="12"/>
          </p:nvPr>
        </p:nvSpPr>
        <p:spPr>
          <a:xfrm>
            <a:off x="7931255" y="1572462"/>
            <a:ext cx="2206800" cy="2207683"/>
          </a:xfrm>
          <a:prstGeom prst="ellipse">
            <a:avLst/>
          </a:prstGeom>
          <a:ln w="38100" cap="flat" cmpd="sng" algn="ctr">
            <a:solidFill>
              <a:schemeClr val="bg1">
                <a:lumMod val="65000"/>
              </a:schemeClr>
            </a:solidFill>
            <a:prstDash val="solid"/>
            <a:round/>
            <a:headEnd type="none" w="med" len="med"/>
            <a:tailEnd type="none" w="med" len="med"/>
          </a:ln>
        </p:spPr>
        <p:txBody>
          <a:bodyPr/>
          <a:lstStyle/>
          <a:p>
            <a:r>
              <a:rPr lang="en-US"/>
              <a:t>Click icon to add picture</a:t>
            </a:r>
          </a:p>
        </p:txBody>
      </p:sp>
      <p:sp>
        <p:nvSpPr>
          <p:cNvPr id="10" name="Text Placeholder 9"/>
          <p:cNvSpPr>
            <a:spLocks noGrp="1"/>
          </p:cNvSpPr>
          <p:nvPr>
            <p:ph type="body" sz="quarter" idx="13"/>
          </p:nvPr>
        </p:nvSpPr>
        <p:spPr>
          <a:xfrm>
            <a:off x="864262" y="4023562"/>
            <a:ext cx="2898478" cy="360000"/>
          </a:xfrm>
          <a:prstGeom prst="rect">
            <a:avLst/>
          </a:prstGeom>
        </p:spPr>
        <p:txBody>
          <a:bodyPr>
            <a:noAutofit/>
          </a:bodyPr>
          <a:lstStyle>
            <a:lvl1pPr marL="0" indent="0" algn="ctr">
              <a:spcAft>
                <a:spcPts val="0"/>
              </a:spcAft>
              <a:buNone/>
              <a:defRPr sz="2000" b="1">
                <a:solidFill>
                  <a:schemeClr val="accent1">
                    <a:lumMod val="100000"/>
                  </a:schemeClr>
                </a:solidFill>
                <a:latin typeface="+mj-lt"/>
              </a:defRPr>
            </a:lvl1pPr>
          </a:lstStyle>
          <a:p>
            <a:pPr lvl="0"/>
            <a:r>
              <a:rPr lang="en-US"/>
              <a:t>Edit Master text styles</a:t>
            </a:r>
          </a:p>
        </p:txBody>
      </p:sp>
      <p:sp>
        <p:nvSpPr>
          <p:cNvPr id="11" name="Text Placeholder 9"/>
          <p:cNvSpPr>
            <a:spLocks noGrp="1"/>
          </p:cNvSpPr>
          <p:nvPr>
            <p:ph type="body" sz="quarter" idx="14"/>
          </p:nvPr>
        </p:nvSpPr>
        <p:spPr>
          <a:xfrm>
            <a:off x="864260" y="4383562"/>
            <a:ext cx="2898480" cy="1747363"/>
          </a:xfrm>
          <a:prstGeom prst="rect">
            <a:avLst/>
          </a:prstGeom>
        </p:spPr>
        <p:txBody>
          <a:bodyPr>
            <a:noAutofit/>
          </a:bodyPr>
          <a:lstStyle>
            <a:lvl1pPr marL="0" indent="0" algn="ctr">
              <a:buNone/>
              <a:defRPr sz="1600"/>
            </a:lvl1pPr>
          </a:lstStyle>
          <a:p>
            <a:pPr lvl="0"/>
            <a:r>
              <a:rPr lang="en-US"/>
              <a:t>Edit Master text styles</a:t>
            </a:r>
          </a:p>
        </p:txBody>
      </p:sp>
      <p:sp>
        <p:nvSpPr>
          <p:cNvPr id="12" name="Text Placeholder 9"/>
          <p:cNvSpPr>
            <a:spLocks noGrp="1"/>
          </p:cNvSpPr>
          <p:nvPr>
            <p:ph type="body" sz="quarter" idx="15"/>
          </p:nvPr>
        </p:nvSpPr>
        <p:spPr>
          <a:xfrm>
            <a:off x="4224812" y="4023562"/>
            <a:ext cx="2898478" cy="360000"/>
          </a:xfrm>
          <a:prstGeom prst="rect">
            <a:avLst/>
          </a:prstGeom>
        </p:spPr>
        <p:txBody>
          <a:bodyPr>
            <a:noAutofit/>
          </a:bodyPr>
          <a:lstStyle>
            <a:lvl1pPr marL="0" indent="0" algn="ctr">
              <a:spcAft>
                <a:spcPts val="0"/>
              </a:spcAft>
              <a:buNone/>
              <a:defRPr sz="2000" b="1">
                <a:solidFill>
                  <a:schemeClr val="accent1">
                    <a:lumMod val="100000"/>
                  </a:schemeClr>
                </a:solidFill>
                <a:latin typeface="+mj-lt"/>
              </a:defRPr>
            </a:lvl1pPr>
          </a:lstStyle>
          <a:p>
            <a:pPr lvl="0"/>
            <a:r>
              <a:rPr lang="en-US"/>
              <a:t>Edit Master text styles</a:t>
            </a:r>
          </a:p>
        </p:txBody>
      </p:sp>
      <p:sp>
        <p:nvSpPr>
          <p:cNvPr id="13" name="Text Placeholder 9"/>
          <p:cNvSpPr>
            <a:spLocks noGrp="1"/>
          </p:cNvSpPr>
          <p:nvPr>
            <p:ph type="body" sz="quarter" idx="16"/>
          </p:nvPr>
        </p:nvSpPr>
        <p:spPr>
          <a:xfrm>
            <a:off x="4224809" y="4383562"/>
            <a:ext cx="2898480" cy="1747363"/>
          </a:xfrm>
          <a:prstGeom prst="rect">
            <a:avLst/>
          </a:prstGeom>
        </p:spPr>
        <p:txBody>
          <a:bodyPr>
            <a:noAutofit/>
          </a:bodyPr>
          <a:lstStyle>
            <a:lvl1pPr marL="0" indent="0" algn="ctr">
              <a:buNone/>
              <a:defRPr sz="1600"/>
            </a:lvl1pPr>
          </a:lstStyle>
          <a:p>
            <a:pPr lvl="0"/>
            <a:r>
              <a:rPr lang="en-US"/>
              <a:t>Edit Master text styles</a:t>
            </a:r>
          </a:p>
        </p:txBody>
      </p:sp>
      <p:sp>
        <p:nvSpPr>
          <p:cNvPr id="14" name="Text Placeholder 9"/>
          <p:cNvSpPr>
            <a:spLocks noGrp="1"/>
          </p:cNvSpPr>
          <p:nvPr>
            <p:ph type="body" sz="quarter" idx="17"/>
          </p:nvPr>
        </p:nvSpPr>
        <p:spPr>
          <a:xfrm>
            <a:off x="7585417" y="4023562"/>
            <a:ext cx="2898478" cy="360000"/>
          </a:xfrm>
          <a:prstGeom prst="rect">
            <a:avLst/>
          </a:prstGeom>
        </p:spPr>
        <p:txBody>
          <a:bodyPr>
            <a:noAutofit/>
          </a:bodyPr>
          <a:lstStyle>
            <a:lvl1pPr marL="0" indent="0" algn="ctr">
              <a:spcAft>
                <a:spcPts val="0"/>
              </a:spcAft>
              <a:buNone/>
              <a:defRPr sz="2000" b="1">
                <a:solidFill>
                  <a:schemeClr val="accent1">
                    <a:lumMod val="100000"/>
                  </a:schemeClr>
                </a:solidFill>
                <a:latin typeface="+mj-lt"/>
              </a:defRPr>
            </a:lvl1pPr>
          </a:lstStyle>
          <a:p>
            <a:pPr lvl="0"/>
            <a:r>
              <a:rPr lang="en-US"/>
              <a:t>Edit Master text styles</a:t>
            </a:r>
          </a:p>
        </p:txBody>
      </p:sp>
      <p:sp>
        <p:nvSpPr>
          <p:cNvPr id="15" name="Text Placeholder 9"/>
          <p:cNvSpPr>
            <a:spLocks noGrp="1"/>
          </p:cNvSpPr>
          <p:nvPr>
            <p:ph type="body" sz="quarter" idx="18"/>
          </p:nvPr>
        </p:nvSpPr>
        <p:spPr>
          <a:xfrm>
            <a:off x="7585415" y="4383562"/>
            <a:ext cx="2898480" cy="1747363"/>
          </a:xfrm>
          <a:prstGeom prst="rect">
            <a:avLst/>
          </a:prstGeom>
        </p:spPr>
        <p:txBody>
          <a:bodyPr>
            <a:noAutofit/>
          </a:bodyPr>
          <a:lstStyle>
            <a:lvl1pPr marL="0" indent="0" algn="ctr">
              <a:buNone/>
              <a:defRPr sz="1600"/>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21390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picture and text">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1" y="2009440"/>
            <a:ext cx="6143625" cy="3635739"/>
          </a:xfrm>
        </p:spPr>
        <p:txBody>
          <a:bodyPr/>
          <a:lstStyle/>
          <a:p>
            <a:r>
              <a:rPr lang="en-US"/>
              <a:t>Click icon to add picture</a:t>
            </a:r>
            <a:endParaRPr lang="fr-FR"/>
          </a:p>
        </p:txBody>
      </p:sp>
      <p:sp>
        <p:nvSpPr>
          <p:cNvPr id="3" name="Title 2"/>
          <p:cNvSpPr>
            <a:spLocks noGrp="1"/>
          </p:cNvSpPr>
          <p:nvPr>
            <p:ph type="title"/>
          </p:nvPr>
        </p:nvSpPr>
        <p:spPr/>
        <p:txBody>
          <a:bodyPr/>
          <a:lstStyle/>
          <a:p>
            <a:r>
              <a:rPr lang="en-US"/>
              <a:t>Click to edit Master title style</a:t>
            </a:r>
          </a:p>
        </p:txBody>
      </p:sp>
      <p:sp>
        <p:nvSpPr>
          <p:cNvPr id="11" name="Freeform: Shape 10">
            <a:extLst>
              <a:ext uri="{FF2B5EF4-FFF2-40B4-BE49-F238E27FC236}">
                <a16:creationId xmlns:a16="http://schemas.microsoft.com/office/drawing/2014/main" id="{1A47580F-5D75-4F5B-8AEF-502D2A0C3317}"/>
              </a:ext>
            </a:extLst>
          </p:cNvPr>
          <p:cNvSpPr>
            <a:spLocks/>
          </p:cNvSpPr>
          <p:nvPr/>
        </p:nvSpPr>
        <p:spPr bwMode="auto">
          <a:xfrm>
            <a:off x="6143624" y="2009441"/>
            <a:ext cx="5377486" cy="3635739"/>
          </a:xfrm>
          <a:custGeom>
            <a:avLst/>
            <a:gdLst>
              <a:gd name="connsiteX0" fmla="*/ 0 w 5377486"/>
              <a:gd name="connsiteY0" fmla="*/ 0 h 3635739"/>
              <a:gd name="connsiteX1" fmla="*/ 5229782 w 5377486"/>
              <a:gd name="connsiteY1" fmla="*/ 0 h 3635739"/>
              <a:gd name="connsiteX2" fmla="*/ 5121870 w 5377486"/>
              <a:gd name="connsiteY2" fmla="*/ 899041 h 3635739"/>
              <a:gd name="connsiteX3" fmla="*/ 4867276 w 5377486"/>
              <a:gd name="connsiteY3" fmla="*/ 1331146 h 3635739"/>
              <a:gd name="connsiteX4" fmla="*/ 5377486 w 5377486"/>
              <a:gd name="connsiteY4" fmla="*/ 3635739 h 3635739"/>
              <a:gd name="connsiteX5" fmla="*/ 0 w 5377486"/>
              <a:gd name="connsiteY5" fmla="*/ 3635739 h 3635739"/>
              <a:gd name="connsiteX6" fmla="*/ 0 w 5377486"/>
              <a:gd name="connsiteY6" fmla="*/ 0 h 363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486" h="3635739">
                <a:moveTo>
                  <a:pt x="0" y="0"/>
                </a:moveTo>
                <a:lnTo>
                  <a:pt x="5229782" y="0"/>
                </a:lnTo>
                <a:lnTo>
                  <a:pt x="5121870" y="899041"/>
                </a:lnTo>
                <a:lnTo>
                  <a:pt x="4867276" y="1331146"/>
                </a:lnTo>
                <a:lnTo>
                  <a:pt x="5377486" y="3635739"/>
                </a:lnTo>
                <a:lnTo>
                  <a:pt x="0" y="3635739"/>
                </a:lnTo>
                <a:lnTo>
                  <a:pt x="0" y="0"/>
                </a:lnTo>
                <a:close/>
              </a:path>
            </a:pathLst>
          </a:custGeom>
          <a:gradFill>
            <a:gsLst>
              <a:gs pos="5000">
                <a:schemeClr val="accent1"/>
              </a:gs>
              <a:gs pos="100000">
                <a:schemeClr val="accent2"/>
              </a:gs>
            </a:gsLst>
            <a:lin ang="18900000" scaled="1"/>
          </a:gra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 name="Text Placeholder 3">
            <a:extLst>
              <a:ext uri="{FF2B5EF4-FFF2-40B4-BE49-F238E27FC236}">
                <a16:creationId xmlns:a16="http://schemas.microsoft.com/office/drawing/2014/main" id="{1F6657D8-299A-4EC6-A6D2-8FD9B92F8653}"/>
              </a:ext>
            </a:extLst>
          </p:cNvPr>
          <p:cNvSpPr>
            <a:spLocks noGrp="1"/>
          </p:cNvSpPr>
          <p:nvPr>
            <p:ph type="body" sz="quarter" idx="14"/>
          </p:nvPr>
        </p:nvSpPr>
        <p:spPr>
          <a:xfrm>
            <a:off x="6388099" y="2133600"/>
            <a:ext cx="4422813" cy="33782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reeform: Shape 5">
            <a:extLst>
              <a:ext uri="{FF2B5EF4-FFF2-40B4-BE49-F238E27FC236}">
                <a16:creationId xmlns:a16="http://schemas.microsoft.com/office/drawing/2014/main" id="{6ECB4BF9-24E4-4D5F-9425-BA9DAD3A2D6A}"/>
              </a:ext>
            </a:extLst>
          </p:cNvPr>
          <p:cNvSpPr>
            <a:spLocks/>
          </p:cNvSpPr>
          <p:nvPr/>
        </p:nvSpPr>
        <p:spPr bwMode="auto">
          <a:xfrm>
            <a:off x="6143624" y="2009441"/>
            <a:ext cx="5377486" cy="3635739"/>
          </a:xfrm>
          <a:custGeom>
            <a:avLst/>
            <a:gdLst>
              <a:gd name="connsiteX0" fmla="*/ 0 w 5377486"/>
              <a:gd name="connsiteY0" fmla="*/ 0 h 3635739"/>
              <a:gd name="connsiteX1" fmla="*/ 5229782 w 5377486"/>
              <a:gd name="connsiteY1" fmla="*/ 0 h 3635739"/>
              <a:gd name="connsiteX2" fmla="*/ 5121870 w 5377486"/>
              <a:gd name="connsiteY2" fmla="*/ 899041 h 3635739"/>
              <a:gd name="connsiteX3" fmla="*/ 4867276 w 5377486"/>
              <a:gd name="connsiteY3" fmla="*/ 1331146 h 3635739"/>
              <a:gd name="connsiteX4" fmla="*/ 5377486 w 5377486"/>
              <a:gd name="connsiteY4" fmla="*/ 3635739 h 3635739"/>
              <a:gd name="connsiteX5" fmla="*/ 0 w 5377486"/>
              <a:gd name="connsiteY5" fmla="*/ 3635739 h 3635739"/>
              <a:gd name="connsiteX6" fmla="*/ 0 w 5377486"/>
              <a:gd name="connsiteY6" fmla="*/ 0 h 363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486" h="3635739">
                <a:moveTo>
                  <a:pt x="0" y="0"/>
                </a:moveTo>
                <a:lnTo>
                  <a:pt x="5229782" y="0"/>
                </a:lnTo>
                <a:lnTo>
                  <a:pt x="5121870" y="899041"/>
                </a:lnTo>
                <a:lnTo>
                  <a:pt x="4867276" y="1331146"/>
                </a:lnTo>
                <a:lnTo>
                  <a:pt x="5377486" y="3635739"/>
                </a:lnTo>
                <a:lnTo>
                  <a:pt x="0" y="3635739"/>
                </a:lnTo>
                <a:lnTo>
                  <a:pt x="0" y="0"/>
                </a:lnTo>
                <a:close/>
              </a:path>
            </a:pathLst>
          </a:custGeom>
          <a:gradFill>
            <a:gsLst>
              <a:gs pos="5000">
                <a:schemeClr val="accent1"/>
              </a:gs>
              <a:gs pos="100000">
                <a:schemeClr val="accent2"/>
              </a:gs>
            </a:gsLst>
            <a:lin ang="18900000" scaled="1"/>
          </a:gra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Freeform: Shape 6">
            <a:extLst>
              <a:ext uri="{FF2B5EF4-FFF2-40B4-BE49-F238E27FC236}">
                <a16:creationId xmlns:a16="http://schemas.microsoft.com/office/drawing/2014/main" id="{D4A64007-82A0-4D38-A8A9-558B2D3F9798}"/>
              </a:ext>
            </a:extLst>
          </p:cNvPr>
          <p:cNvSpPr>
            <a:spLocks/>
          </p:cNvSpPr>
          <p:nvPr userDrawn="1"/>
        </p:nvSpPr>
        <p:spPr bwMode="auto">
          <a:xfrm>
            <a:off x="6143624" y="2009441"/>
            <a:ext cx="5377486" cy="3635739"/>
          </a:xfrm>
          <a:custGeom>
            <a:avLst/>
            <a:gdLst>
              <a:gd name="connsiteX0" fmla="*/ 0 w 5377486"/>
              <a:gd name="connsiteY0" fmla="*/ 0 h 3635739"/>
              <a:gd name="connsiteX1" fmla="*/ 5229782 w 5377486"/>
              <a:gd name="connsiteY1" fmla="*/ 0 h 3635739"/>
              <a:gd name="connsiteX2" fmla="*/ 5121870 w 5377486"/>
              <a:gd name="connsiteY2" fmla="*/ 899041 h 3635739"/>
              <a:gd name="connsiteX3" fmla="*/ 4867276 w 5377486"/>
              <a:gd name="connsiteY3" fmla="*/ 1331146 h 3635739"/>
              <a:gd name="connsiteX4" fmla="*/ 5377486 w 5377486"/>
              <a:gd name="connsiteY4" fmla="*/ 3635739 h 3635739"/>
              <a:gd name="connsiteX5" fmla="*/ 0 w 5377486"/>
              <a:gd name="connsiteY5" fmla="*/ 3635739 h 3635739"/>
              <a:gd name="connsiteX6" fmla="*/ 0 w 5377486"/>
              <a:gd name="connsiteY6" fmla="*/ 0 h 363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486" h="3635739">
                <a:moveTo>
                  <a:pt x="0" y="0"/>
                </a:moveTo>
                <a:lnTo>
                  <a:pt x="5229782" y="0"/>
                </a:lnTo>
                <a:lnTo>
                  <a:pt x="5121870" y="899041"/>
                </a:lnTo>
                <a:lnTo>
                  <a:pt x="4867276" y="1331146"/>
                </a:lnTo>
                <a:lnTo>
                  <a:pt x="5377486" y="3635739"/>
                </a:lnTo>
                <a:lnTo>
                  <a:pt x="0" y="3635739"/>
                </a:lnTo>
                <a:lnTo>
                  <a:pt x="0" y="0"/>
                </a:lnTo>
                <a:close/>
              </a:path>
            </a:pathLst>
          </a:custGeom>
          <a:gradFill>
            <a:gsLst>
              <a:gs pos="5000">
                <a:schemeClr val="accent1"/>
              </a:gs>
              <a:gs pos="100000">
                <a:schemeClr val="accent2"/>
              </a:gs>
            </a:gsLst>
            <a:lin ang="18900000" scaled="1"/>
          </a:gradFill>
          <a:ln>
            <a:noFill/>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33838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9BFC92D3-E7B9-4F46-8CFC-02EB5091954A}"/>
              </a:ext>
            </a:extLst>
          </p:cNvPr>
          <p:cNvSpPr/>
          <p:nvPr userDrawn="1"/>
        </p:nvSpPr>
        <p:spPr>
          <a:xfrm>
            <a:off x="1" y="1"/>
            <a:ext cx="12192000"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1FC522E4-0752-4642-B1DC-9EA18E249DD8}"/>
              </a:ext>
            </a:extLst>
          </p:cNvPr>
          <p:cNvGrpSpPr>
            <a:grpSpLocks noChangeAspect="1"/>
          </p:cNvGrpSpPr>
          <p:nvPr userDrawn="1"/>
        </p:nvGrpSpPr>
        <p:grpSpPr>
          <a:xfrm>
            <a:off x="4644355" y="1038852"/>
            <a:ext cx="2903290" cy="695154"/>
            <a:chOff x="4124325" y="5508625"/>
            <a:chExt cx="2479675" cy="593725"/>
          </a:xfrm>
        </p:grpSpPr>
        <p:grpSp>
          <p:nvGrpSpPr>
            <p:cNvPr id="33" name="Group 32">
              <a:extLst>
                <a:ext uri="{FF2B5EF4-FFF2-40B4-BE49-F238E27FC236}">
                  <a16:creationId xmlns:a16="http://schemas.microsoft.com/office/drawing/2014/main" id="{A008A019-9F1B-4BC2-BA80-4AB8CF837865}"/>
                </a:ext>
              </a:extLst>
            </p:cNvPr>
            <p:cNvGrpSpPr/>
            <p:nvPr/>
          </p:nvGrpSpPr>
          <p:grpSpPr>
            <a:xfrm>
              <a:off x="4124325" y="5508625"/>
              <a:ext cx="460375" cy="593725"/>
              <a:chOff x="4124325" y="5508625"/>
              <a:chExt cx="460375" cy="593725"/>
            </a:xfrm>
          </p:grpSpPr>
          <p:sp>
            <p:nvSpPr>
              <p:cNvPr id="35" name="Freeform 35">
                <a:extLst>
                  <a:ext uri="{FF2B5EF4-FFF2-40B4-BE49-F238E27FC236}">
                    <a16:creationId xmlns:a16="http://schemas.microsoft.com/office/drawing/2014/main" id="{1E0CBD05-9C73-4341-97B5-CC441657168D}"/>
                  </a:ext>
                </a:extLst>
              </p:cNvPr>
              <p:cNvSpPr>
                <a:spLocks/>
              </p:cNvSpPr>
              <p:nvPr/>
            </p:nvSpPr>
            <p:spPr bwMode="auto">
              <a:xfrm>
                <a:off x="4124325" y="5899150"/>
                <a:ext cx="457200" cy="203200"/>
              </a:xfrm>
              <a:custGeom>
                <a:avLst/>
                <a:gdLst>
                  <a:gd name="T0" fmla="*/ 143 w 288"/>
                  <a:gd name="T1" fmla="*/ 67 h 128"/>
                  <a:gd name="T2" fmla="*/ 228 w 288"/>
                  <a:gd name="T3" fmla="*/ 23 h 128"/>
                  <a:gd name="T4" fmla="*/ 283 w 288"/>
                  <a:gd name="T5" fmla="*/ 0 h 128"/>
                  <a:gd name="T6" fmla="*/ 288 w 288"/>
                  <a:gd name="T7" fmla="*/ 3 h 128"/>
                  <a:gd name="T8" fmla="*/ 283 w 288"/>
                  <a:gd name="T9" fmla="*/ 63 h 128"/>
                  <a:gd name="T10" fmla="*/ 156 w 288"/>
                  <a:gd name="T11" fmla="*/ 128 h 128"/>
                  <a:gd name="T12" fmla="*/ 131 w 288"/>
                  <a:gd name="T13" fmla="*/ 128 h 128"/>
                  <a:gd name="T14" fmla="*/ 4 w 288"/>
                  <a:gd name="T15" fmla="*/ 63 h 128"/>
                  <a:gd name="T16" fmla="*/ 0 w 288"/>
                  <a:gd name="T17" fmla="*/ 3 h 128"/>
                  <a:gd name="T18" fmla="*/ 4 w 288"/>
                  <a:gd name="T19" fmla="*/ 0 h 128"/>
                  <a:gd name="T20" fmla="*/ 59 w 288"/>
                  <a:gd name="T21" fmla="*/ 23 h 128"/>
                  <a:gd name="T22" fmla="*/ 143 w 288"/>
                  <a:gd name="T23" fmla="*/ 6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7"/>
                    </a:moveTo>
                    <a:lnTo>
                      <a:pt x="228" y="23"/>
                    </a:lnTo>
                    <a:lnTo>
                      <a:pt x="283" y="0"/>
                    </a:lnTo>
                    <a:lnTo>
                      <a:pt x="288" y="3"/>
                    </a:lnTo>
                    <a:lnTo>
                      <a:pt x="283" y="63"/>
                    </a:lnTo>
                    <a:lnTo>
                      <a:pt x="156" y="128"/>
                    </a:lnTo>
                    <a:lnTo>
                      <a:pt x="131" y="128"/>
                    </a:lnTo>
                    <a:lnTo>
                      <a:pt x="4" y="63"/>
                    </a:lnTo>
                    <a:lnTo>
                      <a:pt x="0" y="3"/>
                    </a:lnTo>
                    <a:lnTo>
                      <a:pt x="4" y="0"/>
                    </a:lnTo>
                    <a:lnTo>
                      <a:pt x="59" y="23"/>
                    </a:lnTo>
                    <a:lnTo>
                      <a:pt x="143" y="67"/>
                    </a:lnTo>
                    <a:close/>
                  </a:path>
                </a:pathLst>
              </a:custGeom>
              <a:solidFill>
                <a:srgbClr val="F15F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6">
                <a:extLst>
                  <a:ext uri="{FF2B5EF4-FFF2-40B4-BE49-F238E27FC236}">
                    <a16:creationId xmlns:a16="http://schemas.microsoft.com/office/drawing/2014/main" id="{F19A01FB-8B96-4516-BF11-C4EA9F42A75A}"/>
                  </a:ext>
                </a:extLst>
              </p:cNvPr>
              <p:cNvSpPr>
                <a:spLocks/>
              </p:cNvSpPr>
              <p:nvPr/>
            </p:nvSpPr>
            <p:spPr bwMode="auto">
              <a:xfrm>
                <a:off x="4124325" y="5605463"/>
                <a:ext cx="457200" cy="403225"/>
              </a:xfrm>
              <a:custGeom>
                <a:avLst/>
                <a:gdLst>
                  <a:gd name="T0" fmla="*/ 288 w 288"/>
                  <a:gd name="T1" fmla="*/ 188 h 254"/>
                  <a:gd name="T2" fmla="*/ 283 w 288"/>
                  <a:gd name="T3" fmla="*/ 248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8"/>
                    </a:lnTo>
                    <a:lnTo>
                      <a:pt x="270" y="254"/>
                    </a:lnTo>
                    <a:lnTo>
                      <a:pt x="0" y="17"/>
                    </a:lnTo>
                    <a:lnTo>
                      <a:pt x="0" y="11"/>
                    </a:lnTo>
                    <a:lnTo>
                      <a:pt x="72" y="0"/>
                    </a:lnTo>
                    <a:lnTo>
                      <a:pt x="288" y="188"/>
                    </a:lnTo>
                    <a:close/>
                  </a:path>
                </a:pathLst>
              </a:custGeom>
              <a:solidFill>
                <a:srgbClr val="BF2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7">
                <a:extLst>
                  <a:ext uri="{FF2B5EF4-FFF2-40B4-BE49-F238E27FC236}">
                    <a16:creationId xmlns:a16="http://schemas.microsoft.com/office/drawing/2014/main" id="{36163D06-0929-4273-AED1-03985C0021BA}"/>
                  </a:ext>
                </a:extLst>
              </p:cNvPr>
              <p:cNvSpPr>
                <a:spLocks/>
              </p:cNvSpPr>
              <p:nvPr/>
            </p:nvSpPr>
            <p:spPr bwMode="auto">
              <a:xfrm>
                <a:off x="4124325" y="5784850"/>
                <a:ext cx="209550" cy="223837"/>
              </a:xfrm>
              <a:custGeom>
                <a:avLst/>
                <a:gdLst>
                  <a:gd name="T0" fmla="*/ 17 w 132"/>
                  <a:gd name="T1" fmla="*/ 141 h 141"/>
                  <a:gd name="T2" fmla="*/ 4 w 132"/>
                  <a:gd name="T3" fmla="*/ 135 h 141"/>
                  <a:gd name="T4" fmla="*/ 0 w 132"/>
                  <a:gd name="T5" fmla="*/ 75 h 141"/>
                  <a:gd name="T6" fmla="*/ 86 w 132"/>
                  <a:gd name="T7" fmla="*/ 0 h 141"/>
                  <a:gd name="T8" fmla="*/ 132 w 132"/>
                  <a:gd name="T9" fmla="*/ 40 h 141"/>
                  <a:gd name="T10" fmla="*/ 17 w 132"/>
                  <a:gd name="T11" fmla="*/ 141 h 141"/>
                </a:gdLst>
                <a:ahLst/>
                <a:cxnLst>
                  <a:cxn ang="0">
                    <a:pos x="T0" y="T1"/>
                  </a:cxn>
                  <a:cxn ang="0">
                    <a:pos x="T2" y="T3"/>
                  </a:cxn>
                  <a:cxn ang="0">
                    <a:pos x="T4" y="T5"/>
                  </a:cxn>
                  <a:cxn ang="0">
                    <a:pos x="T6" y="T7"/>
                  </a:cxn>
                  <a:cxn ang="0">
                    <a:pos x="T8" y="T9"/>
                  </a:cxn>
                  <a:cxn ang="0">
                    <a:pos x="T10" y="T11"/>
                  </a:cxn>
                </a:cxnLst>
                <a:rect l="0" t="0" r="r" b="b"/>
                <a:pathLst>
                  <a:path w="132" h="141">
                    <a:moveTo>
                      <a:pt x="17" y="141"/>
                    </a:moveTo>
                    <a:lnTo>
                      <a:pt x="4" y="135"/>
                    </a:lnTo>
                    <a:lnTo>
                      <a:pt x="0" y="75"/>
                    </a:lnTo>
                    <a:lnTo>
                      <a:pt x="86" y="0"/>
                    </a:lnTo>
                    <a:lnTo>
                      <a:pt x="132" y="40"/>
                    </a:lnTo>
                    <a:lnTo>
                      <a:pt x="17" y="141"/>
                    </a:lnTo>
                    <a:close/>
                  </a:path>
                </a:pathLst>
              </a:custGeom>
              <a:solidFill>
                <a:srgbClr val="8F19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8">
                <a:extLst>
                  <a:ext uri="{FF2B5EF4-FFF2-40B4-BE49-F238E27FC236}">
                    <a16:creationId xmlns:a16="http://schemas.microsoft.com/office/drawing/2014/main" id="{2FCF69F7-BE53-4C5F-819B-788EEFB96EF3}"/>
                  </a:ext>
                </a:extLst>
              </p:cNvPr>
              <p:cNvSpPr>
                <a:spLocks/>
              </p:cNvSpPr>
              <p:nvPr/>
            </p:nvSpPr>
            <p:spPr bwMode="auto">
              <a:xfrm>
                <a:off x="4124325" y="5508625"/>
                <a:ext cx="381000" cy="130175"/>
              </a:xfrm>
              <a:custGeom>
                <a:avLst/>
                <a:gdLst>
                  <a:gd name="T0" fmla="*/ 143 w 240"/>
                  <a:gd name="T1" fmla="*/ 60 h 82"/>
                  <a:gd name="T2" fmla="*/ 3 w 240"/>
                  <a:gd name="T3" fmla="*/ 82 h 82"/>
                  <a:gd name="T4" fmla="*/ 0 w 240"/>
                  <a:gd name="T5" fmla="*/ 78 h 82"/>
                  <a:gd name="T6" fmla="*/ 4 w 240"/>
                  <a:gd name="T7" fmla="*/ 20 h 82"/>
                  <a:gd name="T8" fmla="*/ 139 w 240"/>
                  <a:gd name="T9" fmla="*/ 0 h 82"/>
                  <a:gd name="T10" fmla="*/ 147 w 240"/>
                  <a:gd name="T11" fmla="*/ 0 h 82"/>
                  <a:gd name="T12" fmla="*/ 240 w 240"/>
                  <a:gd name="T13" fmla="*/ 14 h 82"/>
                  <a:gd name="T14" fmla="*/ 240 w 240"/>
                  <a:gd name="T15" fmla="*/ 75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8"/>
                    </a:lnTo>
                    <a:lnTo>
                      <a:pt x="4" y="20"/>
                    </a:lnTo>
                    <a:lnTo>
                      <a:pt x="139" y="0"/>
                    </a:lnTo>
                    <a:lnTo>
                      <a:pt x="147" y="0"/>
                    </a:lnTo>
                    <a:lnTo>
                      <a:pt x="240" y="14"/>
                    </a:lnTo>
                    <a:lnTo>
                      <a:pt x="240" y="75"/>
                    </a:lnTo>
                    <a:lnTo>
                      <a:pt x="143" y="60"/>
                    </a:lnTo>
                    <a:close/>
                  </a:path>
                </a:pathLst>
              </a:custGeom>
              <a:solidFill>
                <a:srgbClr val="F47F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9">
                <a:extLst>
                  <a:ext uri="{FF2B5EF4-FFF2-40B4-BE49-F238E27FC236}">
                    <a16:creationId xmlns:a16="http://schemas.microsoft.com/office/drawing/2014/main" id="{FD21D0F1-D93C-48B5-915D-64226BA6AF4F}"/>
                  </a:ext>
                </a:extLst>
              </p:cNvPr>
              <p:cNvSpPr>
                <a:spLocks/>
              </p:cNvSpPr>
              <p:nvPr/>
            </p:nvSpPr>
            <p:spPr bwMode="auto">
              <a:xfrm>
                <a:off x="4489450" y="5527675"/>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5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5"/>
                    </a:lnTo>
                    <a:lnTo>
                      <a:pt x="0" y="131"/>
                    </a:lnTo>
                    <a:close/>
                  </a:path>
                </a:pathLst>
              </a:custGeom>
              <a:solidFill>
                <a:srgbClr val="F8A6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0">
                <a:extLst>
                  <a:ext uri="{FF2B5EF4-FFF2-40B4-BE49-F238E27FC236}">
                    <a16:creationId xmlns:a16="http://schemas.microsoft.com/office/drawing/2014/main" id="{D96A3D94-5001-4B51-816A-27DE6DB4EE3C}"/>
                  </a:ext>
                </a:extLst>
              </p:cNvPr>
              <p:cNvSpPr>
                <a:spLocks/>
              </p:cNvSpPr>
              <p:nvPr/>
            </p:nvSpPr>
            <p:spPr bwMode="auto">
              <a:xfrm>
                <a:off x="4465638" y="5522913"/>
                <a:ext cx="23812" cy="101600"/>
              </a:xfrm>
              <a:custGeom>
                <a:avLst/>
                <a:gdLst>
                  <a:gd name="T0" fmla="*/ 0 w 15"/>
                  <a:gd name="T1" fmla="*/ 62 h 64"/>
                  <a:gd name="T2" fmla="*/ 15 w 15"/>
                  <a:gd name="T3" fmla="*/ 64 h 64"/>
                  <a:gd name="T4" fmla="*/ 15 w 15"/>
                  <a:gd name="T5" fmla="*/ 3 h 64"/>
                  <a:gd name="T6" fmla="*/ 0 w 15"/>
                  <a:gd name="T7" fmla="*/ 0 h 64"/>
                  <a:gd name="T8" fmla="*/ 0 w 15"/>
                  <a:gd name="T9" fmla="*/ 62 h 64"/>
                </a:gdLst>
                <a:ahLst/>
                <a:cxnLst>
                  <a:cxn ang="0">
                    <a:pos x="T0" y="T1"/>
                  </a:cxn>
                  <a:cxn ang="0">
                    <a:pos x="T2" y="T3"/>
                  </a:cxn>
                  <a:cxn ang="0">
                    <a:pos x="T4" y="T5"/>
                  </a:cxn>
                  <a:cxn ang="0">
                    <a:pos x="T6" y="T7"/>
                  </a:cxn>
                  <a:cxn ang="0">
                    <a:pos x="T8" y="T9"/>
                  </a:cxn>
                </a:cxnLst>
                <a:rect l="0" t="0" r="r" b="b"/>
                <a:pathLst>
                  <a:path w="15" h="64">
                    <a:moveTo>
                      <a:pt x="0" y="62"/>
                    </a:moveTo>
                    <a:lnTo>
                      <a:pt x="15" y="64"/>
                    </a:lnTo>
                    <a:lnTo>
                      <a:pt x="15" y="3"/>
                    </a:lnTo>
                    <a:lnTo>
                      <a:pt x="0" y="0"/>
                    </a:lnTo>
                    <a:lnTo>
                      <a:pt x="0" y="62"/>
                    </a:lnTo>
                    <a:close/>
                  </a:path>
                </a:pathLst>
              </a:custGeom>
              <a:solidFill>
                <a:srgbClr val="F15F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1">
                <a:extLst>
                  <a:ext uri="{FF2B5EF4-FFF2-40B4-BE49-F238E27FC236}">
                    <a16:creationId xmlns:a16="http://schemas.microsoft.com/office/drawing/2014/main" id="{A39B41DC-D1DC-49B3-A18C-797C463F7A34}"/>
                  </a:ext>
                </a:extLst>
              </p:cNvPr>
              <p:cNvSpPr>
                <a:spLocks/>
              </p:cNvSpPr>
              <p:nvPr/>
            </p:nvSpPr>
            <p:spPr bwMode="auto">
              <a:xfrm>
                <a:off x="4129088" y="5619750"/>
                <a:ext cx="147637" cy="38100"/>
              </a:xfrm>
              <a:custGeom>
                <a:avLst/>
                <a:gdLst>
                  <a:gd name="T0" fmla="*/ 15 w 93"/>
                  <a:gd name="T1" fmla="*/ 24 h 24"/>
                  <a:gd name="T2" fmla="*/ 93 w 93"/>
                  <a:gd name="T3" fmla="*/ 13 h 24"/>
                  <a:gd name="T4" fmla="*/ 78 w 93"/>
                  <a:gd name="T5" fmla="*/ 0 h 24"/>
                  <a:gd name="T6" fmla="*/ 0 w 93"/>
                  <a:gd name="T7" fmla="*/ 12 h 24"/>
                  <a:gd name="T8" fmla="*/ 15 w 93"/>
                  <a:gd name="T9" fmla="*/ 24 h 24"/>
                </a:gdLst>
                <a:ahLst/>
                <a:cxnLst>
                  <a:cxn ang="0">
                    <a:pos x="T0" y="T1"/>
                  </a:cxn>
                  <a:cxn ang="0">
                    <a:pos x="T2" y="T3"/>
                  </a:cxn>
                  <a:cxn ang="0">
                    <a:pos x="T4" y="T5"/>
                  </a:cxn>
                  <a:cxn ang="0">
                    <a:pos x="T6" y="T7"/>
                  </a:cxn>
                  <a:cxn ang="0">
                    <a:pos x="T8" y="T9"/>
                  </a:cxn>
                </a:cxnLst>
                <a:rect l="0" t="0" r="r" b="b"/>
                <a:pathLst>
                  <a:path w="93" h="24">
                    <a:moveTo>
                      <a:pt x="15" y="24"/>
                    </a:moveTo>
                    <a:lnTo>
                      <a:pt x="93" y="13"/>
                    </a:lnTo>
                    <a:lnTo>
                      <a:pt x="78" y="0"/>
                    </a:lnTo>
                    <a:lnTo>
                      <a:pt x="0" y="12"/>
                    </a:lnTo>
                    <a:lnTo>
                      <a:pt x="15" y="24"/>
                    </a:lnTo>
                    <a:close/>
                  </a:path>
                </a:pathLst>
              </a:custGeom>
              <a:solidFill>
                <a:srgbClr val="8F19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42">
              <a:extLst>
                <a:ext uri="{FF2B5EF4-FFF2-40B4-BE49-F238E27FC236}">
                  <a16:creationId xmlns:a16="http://schemas.microsoft.com/office/drawing/2014/main" id="{D85C29B7-D323-4A05-973A-F11CB80AB540}"/>
                </a:ext>
              </a:extLst>
            </p:cNvPr>
            <p:cNvSpPr>
              <a:spLocks noEditPoints="1"/>
            </p:cNvSpPr>
            <p:nvPr/>
          </p:nvSpPr>
          <p:spPr bwMode="auto">
            <a:xfrm>
              <a:off x="4873625" y="5662613"/>
              <a:ext cx="1730375" cy="284162"/>
            </a:xfrm>
            <a:custGeom>
              <a:avLst/>
              <a:gdLst>
                <a:gd name="T0" fmla="*/ 1399 w 1571"/>
                <a:gd name="T1" fmla="*/ 170 h 257"/>
                <a:gd name="T2" fmla="*/ 1505 w 1571"/>
                <a:gd name="T3" fmla="*/ 170 h 257"/>
                <a:gd name="T4" fmla="*/ 1471 w 1571"/>
                <a:gd name="T5" fmla="*/ 4 h 257"/>
                <a:gd name="T6" fmla="*/ 1333 w 1571"/>
                <a:gd name="T7" fmla="*/ 253 h 257"/>
                <a:gd name="T8" fmla="*/ 1390 w 1571"/>
                <a:gd name="T9" fmla="*/ 198 h 257"/>
                <a:gd name="T10" fmla="*/ 1536 w 1571"/>
                <a:gd name="T11" fmla="*/ 253 h 257"/>
                <a:gd name="T12" fmla="*/ 1208 w 1571"/>
                <a:gd name="T13" fmla="*/ 253 h 257"/>
                <a:gd name="T14" fmla="*/ 1287 w 1571"/>
                <a:gd name="T15" fmla="*/ 32 h 257"/>
                <a:gd name="T16" fmla="*/ 1098 w 1571"/>
                <a:gd name="T17" fmla="*/ 4 h 257"/>
                <a:gd name="T18" fmla="*/ 1177 w 1571"/>
                <a:gd name="T19" fmla="*/ 32 h 257"/>
                <a:gd name="T20" fmla="*/ 1208 w 1571"/>
                <a:gd name="T21" fmla="*/ 253 h 257"/>
                <a:gd name="T22" fmla="*/ 867 w 1571"/>
                <a:gd name="T23" fmla="*/ 127 h 257"/>
                <a:gd name="T24" fmla="*/ 932 w 1571"/>
                <a:gd name="T25" fmla="*/ 32 h 257"/>
                <a:gd name="T26" fmla="*/ 932 w 1571"/>
                <a:gd name="T27" fmla="*/ 127 h 257"/>
                <a:gd name="T28" fmla="*/ 950 w 1571"/>
                <a:gd name="T29" fmla="*/ 151 h 257"/>
                <a:gd name="T30" fmla="*/ 936 w 1571"/>
                <a:gd name="T31" fmla="*/ 4 h 257"/>
                <a:gd name="T32" fmla="*/ 836 w 1571"/>
                <a:gd name="T33" fmla="*/ 253 h 257"/>
                <a:gd name="T34" fmla="*/ 867 w 1571"/>
                <a:gd name="T35" fmla="*/ 154 h 257"/>
                <a:gd name="T36" fmla="*/ 980 w 1571"/>
                <a:gd name="T37" fmla="*/ 253 h 257"/>
                <a:gd name="T38" fmla="*/ 681 w 1571"/>
                <a:gd name="T39" fmla="*/ 170 h 257"/>
                <a:gd name="T40" fmla="*/ 629 w 1571"/>
                <a:gd name="T41" fmla="*/ 36 h 257"/>
                <a:gd name="T42" fmla="*/ 748 w 1571"/>
                <a:gd name="T43" fmla="*/ 253 h 257"/>
                <a:gd name="T44" fmla="*/ 609 w 1571"/>
                <a:gd name="T45" fmla="*/ 4 h 257"/>
                <a:gd name="T46" fmla="*/ 545 w 1571"/>
                <a:gd name="T47" fmla="*/ 253 h 257"/>
                <a:gd name="T48" fmla="*/ 691 w 1571"/>
                <a:gd name="T49" fmla="*/ 198 h 257"/>
                <a:gd name="T50" fmla="*/ 748 w 1571"/>
                <a:gd name="T51" fmla="*/ 253 h 257"/>
                <a:gd name="T52" fmla="*/ 320 w 1571"/>
                <a:gd name="T53" fmla="*/ 126 h 257"/>
                <a:gd name="T54" fmla="*/ 385 w 1571"/>
                <a:gd name="T55" fmla="*/ 32 h 257"/>
                <a:gd name="T56" fmla="*/ 385 w 1571"/>
                <a:gd name="T57" fmla="*/ 126 h 257"/>
                <a:gd name="T58" fmla="*/ 320 w 1571"/>
                <a:gd name="T59" fmla="*/ 154 h 257"/>
                <a:gd name="T60" fmla="*/ 467 w 1571"/>
                <a:gd name="T61" fmla="*/ 79 h 257"/>
                <a:gd name="T62" fmla="*/ 289 w 1571"/>
                <a:gd name="T63" fmla="*/ 4 h 257"/>
                <a:gd name="T64" fmla="*/ 320 w 1571"/>
                <a:gd name="T65" fmla="*/ 253 h 257"/>
                <a:gd name="T66" fmla="*/ 187 w 1571"/>
                <a:gd name="T67" fmla="*/ 184 h 257"/>
                <a:gd name="T68" fmla="*/ 91 w 1571"/>
                <a:gd name="T69" fmla="*/ 28 h 257"/>
                <a:gd name="T70" fmla="*/ 181 w 1571"/>
                <a:gd name="T71" fmla="*/ 35 h 257"/>
                <a:gd name="T72" fmla="*/ 8 w 1571"/>
                <a:gd name="T73" fmla="*/ 69 h 257"/>
                <a:gd name="T74" fmla="*/ 97 w 1571"/>
                <a:gd name="T75" fmla="*/ 230 h 257"/>
                <a:gd name="T76" fmla="*/ 0 w 1571"/>
                <a:gd name="T77" fmla="*/ 21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7">
                  <a:moveTo>
                    <a:pt x="1505" y="170"/>
                  </a:moveTo>
                  <a:cubicBezTo>
                    <a:pt x="1399" y="170"/>
                    <a:pt x="1399" y="170"/>
                    <a:pt x="1399" y="170"/>
                  </a:cubicBezTo>
                  <a:cubicBezTo>
                    <a:pt x="1452" y="36"/>
                    <a:pt x="1452" y="36"/>
                    <a:pt x="1452" y="36"/>
                  </a:cubicBezTo>
                  <a:lnTo>
                    <a:pt x="1505" y="170"/>
                  </a:lnTo>
                  <a:close/>
                  <a:moveTo>
                    <a:pt x="1571" y="253"/>
                  </a:moveTo>
                  <a:cubicBezTo>
                    <a:pt x="1471" y="4"/>
                    <a:pt x="1471" y="4"/>
                    <a:pt x="1471" y="4"/>
                  </a:cubicBezTo>
                  <a:cubicBezTo>
                    <a:pt x="1433" y="4"/>
                    <a:pt x="1433" y="4"/>
                    <a:pt x="1433" y="4"/>
                  </a:cubicBezTo>
                  <a:cubicBezTo>
                    <a:pt x="1333" y="253"/>
                    <a:pt x="1333" y="253"/>
                    <a:pt x="1333" y="253"/>
                  </a:cubicBezTo>
                  <a:cubicBezTo>
                    <a:pt x="1368" y="253"/>
                    <a:pt x="1368" y="253"/>
                    <a:pt x="1368" y="253"/>
                  </a:cubicBezTo>
                  <a:cubicBezTo>
                    <a:pt x="1390" y="198"/>
                    <a:pt x="1390" y="198"/>
                    <a:pt x="1390" y="198"/>
                  </a:cubicBezTo>
                  <a:cubicBezTo>
                    <a:pt x="1514" y="198"/>
                    <a:pt x="1514" y="198"/>
                    <a:pt x="1514" y="198"/>
                  </a:cubicBezTo>
                  <a:cubicBezTo>
                    <a:pt x="1536" y="253"/>
                    <a:pt x="1536" y="253"/>
                    <a:pt x="1536" y="253"/>
                  </a:cubicBezTo>
                  <a:lnTo>
                    <a:pt x="1571" y="253"/>
                  </a:lnTo>
                  <a:close/>
                  <a:moveTo>
                    <a:pt x="1208" y="253"/>
                  </a:moveTo>
                  <a:cubicBezTo>
                    <a:pt x="1208" y="32"/>
                    <a:pt x="1208" y="32"/>
                    <a:pt x="1208" y="32"/>
                  </a:cubicBezTo>
                  <a:cubicBezTo>
                    <a:pt x="1287" y="32"/>
                    <a:pt x="1287" y="32"/>
                    <a:pt x="1287" y="32"/>
                  </a:cubicBezTo>
                  <a:cubicBezTo>
                    <a:pt x="1287" y="4"/>
                    <a:pt x="1287" y="4"/>
                    <a:pt x="1287" y="4"/>
                  </a:cubicBezTo>
                  <a:cubicBezTo>
                    <a:pt x="1098" y="4"/>
                    <a:pt x="1098" y="4"/>
                    <a:pt x="1098" y="4"/>
                  </a:cubicBezTo>
                  <a:cubicBezTo>
                    <a:pt x="1098" y="32"/>
                    <a:pt x="1098" y="32"/>
                    <a:pt x="1098" y="32"/>
                  </a:cubicBezTo>
                  <a:cubicBezTo>
                    <a:pt x="1177" y="32"/>
                    <a:pt x="1177" y="32"/>
                    <a:pt x="1177" y="32"/>
                  </a:cubicBezTo>
                  <a:cubicBezTo>
                    <a:pt x="1177" y="253"/>
                    <a:pt x="1177" y="253"/>
                    <a:pt x="1177" y="253"/>
                  </a:cubicBezTo>
                  <a:lnTo>
                    <a:pt x="1208" y="253"/>
                  </a:lnTo>
                  <a:close/>
                  <a:moveTo>
                    <a:pt x="932" y="127"/>
                  </a:moveTo>
                  <a:cubicBezTo>
                    <a:pt x="867" y="127"/>
                    <a:pt x="867" y="127"/>
                    <a:pt x="867" y="127"/>
                  </a:cubicBezTo>
                  <a:cubicBezTo>
                    <a:pt x="867" y="32"/>
                    <a:pt x="867" y="32"/>
                    <a:pt x="867" y="32"/>
                  </a:cubicBezTo>
                  <a:cubicBezTo>
                    <a:pt x="932" y="32"/>
                    <a:pt x="932" y="32"/>
                    <a:pt x="932" y="32"/>
                  </a:cubicBezTo>
                  <a:cubicBezTo>
                    <a:pt x="962" y="32"/>
                    <a:pt x="982" y="51"/>
                    <a:pt x="982" y="79"/>
                  </a:cubicBezTo>
                  <a:cubicBezTo>
                    <a:pt x="982" y="107"/>
                    <a:pt x="962" y="127"/>
                    <a:pt x="932" y="127"/>
                  </a:cubicBezTo>
                  <a:close/>
                  <a:moveTo>
                    <a:pt x="1017" y="253"/>
                  </a:moveTo>
                  <a:cubicBezTo>
                    <a:pt x="950" y="151"/>
                    <a:pt x="950" y="151"/>
                    <a:pt x="950" y="151"/>
                  </a:cubicBezTo>
                  <a:cubicBezTo>
                    <a:pt x="984" y="148"/>
                    <a:pt x="1014" y="124"/>
                    <a:pt x="1014" y="79"/>
                  </a:cubicBezTo>
                  <a:cubicBezTo>
                    <a:pt x="1014" y="33"/>
                    <a:pt x="982" y="4"/>
                    <a:pt x="936" y="4"/>
                  </a:cubicBezTo>
                  <a:cubicBezTo>
                    <a:pt x="836" y="4"/>
                    <a:pt x="836" y="4"/>
                    <a:pt x="836" y="4"/>
                  </a:cubicBezTo>
                  <a:cubicBezTo>
                    <a:pt x="836" y="253"/>
                    <a:pt x="836" y="253"/>
                    <a:pt x="836" y="253"/>
                  </a:cubicBezTo>
                  <a:cubicBezTo>
                    <a:pt x="867" y="253"/>
                    <a:pt x="867" y="253"/>
                    <a:pt x="867" y="253"/>
                  </a:cubicBezTo>
                  <a:cubicBezTo>
                    <a:pt x="867" y="154"/>
                    <a:pt x="867" y="154"/>
                    <a:pt x="867" y="154"/>
                  </a:cubicBezTo>
                  <a:cubicBezTo>
                    <a:pt x="917" y="154"/>
                    <a:pt x="917" y="154"/>
                    <a:pt x="917" y="154"/>
                  </a:cubicBezTo>
                  <a:cubicBezTo>
                    <a:pt x="980" y="253"/>
                    <a:pt x="980" y="253"/>
                    <a:pt x="980" y="253"/>
                  </a:cubicBezTo>
                  <a:lnTo>
                    <a:pt x="1017" y="253"/>
                  </a:lnTo>
                  <a:close/>
                  <a:moveTo>
                    <a:pt x="681" y="170"/>
                  </a:moveTo>
                  <a:cubicBezTo>
                    <a:pt x="576" y="170"/>
                    <a:pt x="576" y="170"/>
                    <a:pt x="576" y="170"/>
                  </a:cubicBezTo>
                  <a:cubicBezTo>
                    <a:pt x="629" y="36"/>
                    <a:pt x="629" y="36"/>
                    <a:pt x="629" y="36"/>
                  </a:cubicBezTo>
                  <a:lnTo>
                    <a:pt x="681" y="170"/>
                  </a:lnTo>
                  <a:close/>
                  <a:moveTo>
                    <a:pt x="748" y="253"/>
                  </a:moveTo>
                  <a:cubicBezTo>
                    <a:pt x="648" y="4"/>
                    <a:pt x="648" y="4"/>
                    <a:pt x="648" y="4"/>
                  </a:cubicBezTo>
                  <a:cubicBezTo>
                    <a:pt x="609" y="4"/>
                    <a:pt x="609" y="4"/>
                    <a:pt x="609" y="4"/>
                  </a:cubicBezTo>
                  <a:cubicBezTo>
                    <a:pt x="509" y="253"/>
                    <a:pt x="509" y="253"/>
                    <a:pt x="509" y="253"/>
                  </a:cubicBezTo>
                  <a:cubicBezTo>
                    <a:pt x="545" y="253"/>
                    <a:pt x="545" y="253"/>
                    <a:pt x="545" y="253"/>
                  </a:cubicBezTo>
                  <a:cubicBezTo>
                    <a:pt x="567" y="198"/>
                    <a:pt x="567" y="198"/>
                    <a:pt x="567" y="198"/>
                  </a:cubicBezTo>
                  <a:cubicBezTo>
                    <a:pt x="691" y="198"/>
                    <a:pt x="691" y="198"/>
                    <a:pt x="691" y="198"/>
                  </a:cubicBezTo>
                  <a:cubicBezTo>
                    <a:pt x="713" y="253"/>
                    <a:pt x="713" y="253"/>
                    <a:pt x="713" y="253"/>
                  </a:cubicBezTo>
                  <a:lnTo>
                    <a:pt x="748" y="253"/>
                  </a:lnTo>
                  <a:close/>
                  <a:moveTo>
                    <a:pt x="385" y="126"/>
                  </a:moveTo>
                  <a:cubicBezTo>
                    <a:pt x="320" y="126"/>
                    <a:pt x="320" y="126"/>
                    <a:pt x="320" y="126"/>
                  </a:cubicBezTo>
                  <a:cubicBezTo>
                    <a:pt x="320" y="32"/>
                    <a:pt x="320" y="32"/>
                    <a:pt x="320" y="32"/>
                  </a:cubicBezTo>
                  <a:cubicBezTo>
                    <a:pt x="385" y="32"/>
                    <a:pt x="385" y="32"/>
                    <a:pt x="385" y="32"/>
                  </a:cubicBezTo>
                  <a:cubicBezTo>
                    <a:pt x="415" y="32"/>
                    <a:pt x="435" y="51"/>
                    <a:pt x="435" y="79"/>
                  </a:cubicBezTo>
                  <a:cubicBezTo>
                    <a:pt x="435" y="107"/>
                    <a:pt x="415" y="126"/>
                    <a:pt x="385" y="126"/>
                  </a:cubicBezTo>
                  <a:close/>
                  <a:moveTo>
                    <a:pt x="320" y="253"/>
                  </a:moveTo>
                  <a:cubicBezTo>
                    <a:pt x="320" y="154"/>
                    <a:pt x="320" y="154"/>
                    <a:pt x="320" y="154"/>
                  </a:cubicBezTo>
                  <a:cubicBezTo>
                    <a:pt x="389" y="154"/>
                    <a:pt x="389" y="154"/>
                    <a:pt x="389" y="154"/>
                  </a:cubicBezTo>
                  <a:cubicBezTo>
                    <a:pt x="438" y="154"/>
                    <a:pt x="467" y="120"/>
                    <a:pt x="467" y="79"/>
                  </a:cubicBezTo>
                  <a:cubicBezTo>
                    <a:pt x="467" y="39"/>
                    <a:pt x="439" y="4"/>
                    <a:pt x="389" y="4"/>
                  </a:cubicBezTo>
                  <a:cubicBezTo>
                    <a:pt x="289" y="4"/>
                    <a:pt x="289" y="4"/>
                    <a:pt x="289" y="4"/>
                  </a:cubicBezTo>
                  <a:cubicBezTo>
                    <a:pt x="289" y="253"/>
                    <a:pt x="289" y="253"/>
                    <a:pt x="289" y="253"/>
                  </a:cubicBezTo>
                  <a:lnTo>
                    <a:pt x="320" y="253"/>
                  </a:lnTo>
                  <a:close/>
                  <a:moveTo>
                    <a:pt x="95" y="257"/>
                  </a:moveTo>
                  <a:cubicBezTo>
                    <a:pt x="162" y="257"/>
                    <a:pt x="187" y="220"/>
                    <a:pt x="187" y="184"/>
                  </a:cubicBezTo>
                  <a:cubicBezTo>
                    <a:pt x="187" y="91"/>
                    <a:pt x="40" y="123"/>
                    <a:pt x="40" y="68"/>
                  </a:cubicBezTo>
                  <a:cubicBezTo>
                    <a:pt x="40" y="44"/>
                    <a:pt x="61" y="28"/>
                    <a:pt x="91" y="28"/>
                  </a:cubicBezTo>
                  <a:cubicBezTo>
                    <a:pt x="118" y="28"/>
                    <a:pt x="144" y="37"/>
                    <a:pt x="163" y="58"/>
                  </a:cubicBezTo>
                  <a:cubicBezTo>
                    <a:pt x="181" y="35"/>
                    <a:pt x="181" y="35"/>
                    <a:pt x="181" y="35"/>
                  </a:cubicBezTo>
                  <a:cubicBezTo>
                    <a:pt x="161" y="13"/>
                    <a:pt x="131" y="0"/>
                    <a:pt x="93" y="0"/>
                  </a:cubicBezTo>
                  <a:cubicBezTo>
                    <a:pt x="44" y="0"/>
                    <a:pt x="8" y="28"/>
                    <a:pt x="8" y="69"/>
                  </a:cubicBezTo>
                  <a:cubicBezTo>
                    <a:pt x="8" y="158"/>
                    <a:pt x="155" y="123"/>
                    <a:pt x="155" y="187"/>
                  </a:cubicBezTo>
                  <a:cubicBezTo>
                    <a:pt x="155" y="206"/>
                    <a:pt x="141" y="230"/>
                    <a:pt x="97" y="230"/>
                  </a:cubicBezTo>
                  <a:cubicBezTo>
                    <a:pt x="61" y="230"/>
                    <a:pt x="35" y="213"/>
                    <a:pt x="18" y="194"/>
                  </a:cubicBezTo>
                  <a:cubicBezTo>
                    <a:pt x="0" y="218"/>
                    <a:pt x="0" y="218"/>
                    <a:pt x="0" y="218"/>
                  </a:cubicBezTo>
                  <a:cubicBezTo>
                    <a:pt x="20" y="241"/>
                    <a:pt x="52" y="257"/>
                    <a:pt x="95" y="2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44" name="Straight Connector 43">
            <a:extLst>
              <a:ext uri="{FF2B5EF4-FFF2-40B4-BE49-F238E27FC236}">
                <a16:creationId xmlns:a16="http://schemas.microsoft.com/office/drawing/2014/main" id="{E42CD782-4BBC-469A-832D-25D0376CF495}"/>
              </a:ext>
            </a:extLst>
          </p:cNvPr>
          <p:cNvCxnSpPr>
            <a:cxnSpLocks/>
          </p:cNvCxnSpPr>
          <p:nvPr userDrawn="1"/>
        </p:nvCxnSpPr>
        <p:spPr>
          <a:xfrm>
            <a:off x="3804841" y="4109513"/>
            <a:ext cx="4582319"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891E797C-B588-47A8-90AA-53997C339A5F}"/>
              </a:ext>
            </a:extLst>
          </p:cNvPr>
          <p:cNvSpPr>
            <a:spLocks noGrp="1"/>
          </p:cNvSpPr>
          <p:nvPr>
            <p:ph type="title"/>
          </p:nvPr>
        </p:nvSpPr>
        <p:spPr>
          <a:xfrm>
            <a:off x="1025922" y="2355622"/>
            <a:ext cx="10140156" cy="715004"/>
          </a:xfrm>
        </p:spPr>
        <p:txBody>
          <a:bodyPr anchor="ctr"/>
          <a:lstStyle>
            <a:lvl1pPr algn="ctr">
              <a:defRPr sz="4000" b="0">
                <a:solidFill>
                  <a:schemeClr val="bg1"/>
                </a:solidFill>
                <a:latin typeface="+mn-lt"/>
              </a:defRPr>
            </a:lvl1pPr>
          </a:lstStyle>
          <a:p>
            <a:r>
              <a:rPr lang="en-US" dirty="0"/>
              <a:t>Click to edit Master title style</a:t>
            </a:r>
          </a:p>
        </p:txBody>
      </p:sp>
      <p:sp>
        <p:nvSpPr>
          <p:cNvPr id="46" name="Text Placeholder 31">
            <a:extLst>
              <a:ext uri="{FF2B5EF4-FFF2-40B4-BE49-F238E27FC236}">
                <a16:creationId xmlns:a16="http://schemas.microsoft.com/office/drawing/2014/main" id="{DB48978C-4ABC-46F8-8E39-1DD0851AB17E}"/>
              </a:ext>
            </a:extLst>
          </p:cNvPr>
          <p:cNvSpPr>
            <a:spLocks noGrp="1"/>
          </p:cNvSpPr>
          <p:nvPr>
            <p:ph type="body" sz="quarter" idx="10"/>
          </p:nvPr>
        </p:nvSpPr>
        <p:spPr>
          <a:xfrm>
            <a:off x="1025922" y="3187056"/>
            <a:ext cx="10140156" cy="792905"/>
          </a:xfrm>
        </p:spPr>
        <p:txBody>
          <a:bodyPr>
            <a:normAutofit/>
          </a:bodyPr>
          <a:lstStyle>
            <a:lvl1pPr marL="0" indent="0" algn="ctr">
              <a:buNone/>
              <a:defRPr sz="2000">
                <a:solidFill>
                  <a:schemeClr val="bg1"/>
                </a:solidFill>
              </a:defRPr>
            </a:lvl1pPr>
            <a:lvl2pPr>
              <a:defRPr sz="1800"/>
            </a:lvl2pPr>
          </a:lstStyle>
          <a:p>
            <a:pPr lvl="0"/>
            <a:r>
              <a:rPr lang="en-US" dirty="0"/>
              <a:t>Edit Master text styles</a:t>
            </a:r>
          </a:p>
        </p:txBody>
      </p:sp>
      <p:sp>
        <p:nvSpPr>
          <p:cNvPr id="49" name="Text Placeholder 31">
            <a:extLst>
              <a:ext uri="{FF2B5EF4-FFF2-40B4-BE49-F238E27FC236}">
                <a16:creationId xmlns:a16="http://schemas.microsoft.com/office/drawing/2014/main" id="{6F7C2757-3109-4146-A3A0-CCFC03A0310E}"/>
              </a:ext>
            </a:extLst>
          </p:cNvPr>
          <p:cNvSpPr>
            <a:spLocks noGrp="1"/>
          </p:cNvSpPr>
          <p:nvPr>
            <p:ph type="body" sz="quarter" idx="11"/>
          </p:nvPr>
        </p:nvSpPr>
        <p:spPr>
          <a:xfrm>
            <a:off x="3804840" y="4385640"/>
            <a:ext cx="4582320" cy="1923083"/>
          </a:xfrm>
        </p:spPr>
        <p:txBody>
          <a:bodyPr>
            <a:normAutofit/>
          </a:bodyPr>
          <a:lstStyle>
            <a:lvl1pPr marL="0" indent="0" algn="ctr">
              <a:buNone/>
              <a:defRPr sz="1800">
                <a:solidFill>
                  <a:schemeClr val="bg1"/>
                </a:solidFill>
              </a:defRPr>
            </a:lvl1pPr>
            <a:lvl2pPr>
              <a:defRPr sz="1800"/>
            </a:lvl2pPr>
          </a:lstStyle>
          <a:p>
            <a:pPr lvl="0"/>
            <a:r>
              <a:rPr lang="en-US" dirty="0"/>
              <a:t>Edit Master text styles</a:t>
            </a:r>
          </a:p>
        </p:txBody>
      </p:sp>
    </p:spTree>
    <p:extLst>
      <p:ext uri="{BB962C8B-B14F-4D97-AF65-F5344CB8AC3E}">
        <p14:creationId xmlns:p14="http://schemas.microsoft.com/office/powerpoint/2010/main" val="37308869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10" name="Text Placeholder 7"/>
          <p:cNvSpPr>
            <a:spLocks noGrp="1"/>
          </p:cNvSpPr>
          <p:nvPr>
            <p:ph type="body" sz="quarter" idx="16"/>
          </p:nvPr>
        </p:nvSpPr>
        <p:spPr>
          <a:xfrm>
            <a:off x="5903578" y="1976470"/>
            <a:ext cx="4907335" cy="1264236"/>
          </a:xfrm>
        </p:spPr>
        <p:txBody>
          <a:bodyPr anchor="ctr"/>
          <a:lstStyle>
            <a:lvl1pPr marL="0" indent="0">
              <a:buNone/>
              <a:defRPr/>
            </a:lvl1pPr>
          </a:lstStyle>
          <a:p>
            <a:pPr lvl="0"/>
            <a:r>
              <a:rPr lang="en-US"/>
              <a:t>Edit Master text styles</a:t>
            </a:r>
          </a:p>
        </p:txBody>
      </p:sp>
      <p:sp>
        <p:nvSpPr>
          <p:cNvPr id="13" name="Text Placeholder 7"/>
          <p:cNvSpPr>
            <a:spLocks noGrp="1"/>
          </p:cNvSpPr>
          <p:nvPr>
            <p:ph type="body" sz="quarter" idx="20"/>
          </p:nvPr>
        </p:nvSpPr>
        <p:spPr>
          <a:xfrm>
            <a:off x="5903578" y="4153611"/>
            <a:ext cx="4907335" cy="1264236"/>
          </a:xfrm>
        </p:spPr>
        <p:txBody>
          <a:bodyPr anchor="ctr"/>
          <a:lstStyle>
            <a:lvl1pPr marL="0" indent="0">
              <a:buNone/>
              <a:defRPr/>
            </a:lvl1pPr>
          </a:lstStyle>
          <a:p>
            <a:pPr lvl="0"/>
            <a:r>
              <a:rPr lang="en-US"/>
              <a:t>Edit Master text styles</a:t>
            </a:r>
          </a:p>
        </p:txBody>
      </p:sp>
      <p:sp>
        <p:nvSpPr>
          <p:cNvPr id="4" name="Title 3"/>
          <p:cNvSpPr>
            <a:spLocks noGrp="1"/>
          </p:cNvSpPr>
          <p:nvPr>
            <p:ph type="title"/>
          </p:nvPr>
        </p:nvSpPr>
        <p:spPr/>
        <p:txBody>
          <a:bodyPr/>
          <a:lstStyle/>
          <a:p>
            <a:r>
              <a:rPr lang="en-US"/>
              <a:t>Click to edit Master title style</a:t>
            </a:r>
          </a:p>
        </p:txBody>
      </p:sp>
      <p:sp>
        <p:nvSpPr>
          <p:cNvPr id="19" name="Oval 18">
            <a:extLst>
              <a:ext uri="{FF2B5EF4-FFF2-40B4-BE49-F238E27FC236}">
                <a16:creationId xmlns:a16="http://schemas.microsoft.com/office/drawing/2014/main" id="{70D85D52-66CB-4B04-9B6B-C9ABBA529057}"/>
              </a:ext>
            </a:extLst>
          </p:cNvPr>
          <p:cNvSpPr/>
          <p:nvPr userDrawn="1"/>
        </p:nvSpPr>
        <p:spPr>
          <a:xfrm>
            <a:off x="4990245" y="2237830"/>
            <a:ext cx="720000" cy="720000"/>
          </a:xfrm>
          <a:prstGeom prst="ellipse">
            <a:avLst/>
          </a:prstGeom>
          <a:solidFill>
            <a:schemeClr val="accent1"/>
          </a:solidFill>
          <a:ln>
            <a:solidFill>
              <a:schemeClr val="bg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1" name="Picture Placeholder 20">
            <a:extLst>
              <a:ext uri="{FF2B5EF4-FFF2-40B4-BE49-F238E27FC236}">
                <a16:creationId xmlns:a16="http://schemas.microsoft.com/office/drawing/2014/main" id="{ABB6BFB3-C51E-409F-86CF-373C364C9A5D}"/>
              </a:ext>
            </a:extLst>
          </p:cNvPr>
          <p:cNvSpPr>
            <a:spLocks noGrp="1"/>
          </p:cNvSpPr>
          <p:nvPr>
            <p:ph type="pic" sz="quarter" idx="21"/>
          </p:nvPr>
        </p:nvSpPr>
        <p:spPr>
          <a:xfrm>
            <a:off x="442912" y="1654178"/>
            <a:ext cx="4907335" cy="1887311"/>
          </a:xfrm>
          <a:custGeom>
            <a:avLst/>
            <a:gdLst>
              <a:gd name="connsiteX0" fmla="*/ 0 w 4907335"/>
              <a:gd name="connsiteY0" fmla="*/ 0 h 1887311"/>
              <a:gd name="connsiteX1" fmla="*/ 4907335 w 4907335"/>
              <a:gd name="connsiteY1" fmla="*/ 0 h 1887311"/>
              <a:gd name="connsiteX2" fmla="*/ 4907335 w 4907335"/>
              <a:gd name="connsiteY2" fmla="*/ 583653 h 1887311"/>
              <a:gd name="connsiteX3" fmla="*/ 4907333 w 4907335"/>
              <a:gd name="connsiteY3" fmla="*/ 583653 h 1887311"/>
              <a:gd name="connsiteX4" fmla="*/ 4547333 w 4907335"/>
              <a:gd name="connsiteY4" fmla="*/ 943653 h 1887311"/>
              <a:gd name="connsiteX5" fmla="*/ 4907333 w 4907335"/>
              <a:gd name="connsiteY5" fmla="*/ 1303653 h 1887311"/>
              <a:gd name="connsiteX6" fmla="*/ 4907335 w 4907335"/>
              <a:gd name="connsiteY6" fmla="*/ 1303653 h 1887311"/>
              <a:gd name="connsiteX7" fmla="*/ 4907335 w 4907335"/>
              <a:gd name="connsiteY7" fmla="*/ 1887311 h 1887311"/>
              <a:gd name="connsiteX8" fmla="*/ 0 w 4907335"/>
              <a:gd name="connsiteY8" fmla="*/ 1887311 h 188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07335" h="1887311">
                <a:moveTo>
                  <a:pt x="0" y="0"/>
                </a:moveTo>
                <a:lnTo>
                  <a:pt x="4907335" y="0"/>
                </a:lnTo>
                <a:lnTo>
                  <a:pt x="4907335" y="583653"/>
                </a:lnTo>
                <a:lnTo>
                  <a:pt x="4907333" y="583653"/>
                </a:lnTo>
                <a:cubicBezTo>
                  <a:pt x="4708510" y="583653"/>
                  <a:pt x="4547333" y="744830"/>
                  <a:pt x="4547333" y="943653"/>
                </a:cubicBezTo>
                <a:cubicBezTo>
                  <a:pt x="4547333" y="1142476"/>
                  <a:pt x="4708510" y="1303653"/>
                  <a:pt x="4907333" y="1303653"/>
                </a:cubicBezTo>
                <a:lnTo>
                  <a:pt x="4907335" y="1303653"/>
                </a:lnTo>
                <a:lnTo>
                  <a:pt x="4907335" y="1887311"/>
                </a:lnTo>
                <a:lnTo>
                  <a:pt x="0" y="1887311"/>
                </a:lnTo>
                <a:close/>
              </a:path>
            </a:pathLst>
          </a:custGeom>
        </p:spPr>
        <p:txBody>
          <a:bodyPr wrap="square">
            <a:noAutofit/>
          </a:bodyPr>
          <a:lstStyle/>
          <a:p>
            <a:endParaRPr lang="en-US" dirty="0"/>
          </a:p>
        </p:txBody>
      </p:sp>
      <p:sp>
        <p:nvSpPr>
          <p:cNvPr id="23" name="Oval 22">
            <a:extLst>
              <a:ext uri="{FF2B5EF4-FFF2-40B4-BE49-F238E27FC236}">
                <a16:creationId xmlns:a16="http://schemas.microsoft.com/office/drawing/2014/main" id="{08CEDD78-0C23-44FA-8379-8281A4C97D4D}"/>
              </a:ext>
            </a:extLst>
          </p:cNvPr>
          <p:cNvSpPr>
            <a:spLocks/>
          </p:cNvSpPr>
          <p:nvPr userDrawn="1"/>
        </p:nvSpPr>
        <p:spPr>
          <a:xfrm>
            <a:off x="4990245" y="4414974"/>
            <a:ext cx="720000" cy="720000"/>
          </a:xfrm>
          <a:prstGeom prst="ellipse">
            <a:avLst/>
          </a:prstGeom>
          <a:solidFill>
            <a:schemeClr val="accent2"/>
          </a:solidFill>
          <a:ln>
            <a:solidFill>
              <a:schemeClr val="bg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4" name="Picture Placeholder 23">
            <a:extLst>
              <a:ext uri="{FF2B5EF4-FFF2-40B4-BE49-F238E27FC236}">
                <a16:creationId xmlns:a16="http://schemas.microsoft.com/office/drawing/2014/main" id="{0C6C8902-A526-4F76-AC51-FFE235407114}"/>
              </a:ext>
            </a:extLst>
          </p:cNvPr>
          <p:cNvSpPr>
            <a:spLocks noGrp="1"/>
          </p:cNvSpPr>
          <p:nvPr>
            <p:ph type="pic" sz="quarter" idx="22"/>
          </p:nvPr>
        </p:nvSpPr>
        <p:spPr>
          <a:xfrm>
            <a:off x="442912" y="3831318"/>
            <a:ext cx="4907335" cy="1887311"/>
          </a:xfrm>
          <a:custGeom>
            <a:avLst/>
            <a:gdLst>
              <a:gd name="connsiteX0" fmla="*/ 0 w 4907335"/>
              <a:gd name="connsiteY0" fmla="*/ 0 h 1887311"/>
              <a:gd name="connsiteX1" fmla="*/ 4907335 w 4907335"/>
              <a:gd name="connsiteY1" fmla="*/ 0 h 1887311"/>
              <a:gd name="connsiteX2" fmla="*/ 4907335 w 4907335"/>
              <a:gd name="connsiteY2" fmla="*/ 583653 h 1887311"/>
              <a:gd name="connsiteX3" fmla="*/ 4907333 w 4907335"/>
              <a:gd name="connsiteY3" fmla="*/ 583653 h 1887311"/>
              <a:gd name="connsiteX4" fmla="*/ 4547333 w 4907335"/>
              <a:gd name="connsiteY4" fmla="*/ 943653 h 1887311"/>
              <a:gd name="connsiteX5" fmla="*/ 4907333 w 4907335"/>
              <a:gd name="connsiteY5" fmla="*/ 1303653 h 1887311"/>
              <a:gd name="connsiteX6" fmla="*/ 4907335 w 4907335"/>
              <a:gd name="connsiteY6" fmla="*/ 1303653 h 1887311"/>
              <a:gd name="connsiteX7" fmla="*/ 4907335 w 4907335"/>
              <a:gd name="connsiteY7" fmla="*/ 1887311 h 1887311"/>
              <a:gd name="connsiteX8" fmla="*/ 0 w 4907335"/>
              <a:gd name="connsiteY8" fmla="*/ 1887311 h 188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07335" h="1887311">
                <a:moveTo>
                  <a:pt x="0" y="0"/>
                </a:moveTo>
                <a:lnTo>
                  <a:pt x="4907335" y="0"/>
                </a:lnTo>
                <a:lnTo>
                  <a:pt x="4907335" y="583653"/>
                </a:lnTo>
                <a:lnTo>
                  <a:pt x="4907333" y="583653"/>
                </a:lnTo>
                <a:cubicBezTo>
                  <a:pt x="4708510" y="583653"/>
                  <a:pt x="4547333" y="744830"/>
                  <a:pt x="4547333" y="943653"/>
                </a:cubicBezTo>
                <a:cubicBezTo>
                  <a:pt x="4547333" y="1142476"/>
                  <a:pt x="4708510" y="1303653"/>
                  <a:pt x="4907333" y="1303653"/>
                </a:cubicBezTo>
                <a:lnTo>
                  <a:pt x="4907335" y="1303653"/>
                </a:lnTo>
                <a:lnTo>
                  <a:pt x="4907335" y="1887311"/>
                </a:lnTo>
                <a:lnTo>
                  <a:pt x="0" y="1887311"/>
                </a:lnTo>
                <a:close/>
              </a:path>
            </a:pathLst>
          </a:custGeom>
        </p:spPr>
        <p:txBody>
          <a:bodyPr wrap="square">
            <a:noAutofit/>
          </a:bodyPr>
          <a:lstStyle/>
          <a:p>
            <a:endParaRPr lang="en-US" dirty="0"/>
          </a:p>
        </p:txBody>
      </p:sp>
    </p:spTree>
    <p:extLst>
      <p:ext uri="{BB962C8B-B14F-4D97-AF65-F5344CB8AC3E}">
        <p14:creationId xmlns:p14="http://schemas.microsoft.com/office/powerpoint/2010/main" val="15289574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hank you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C66C825-29CF-422B-9BFE-ABCFF6F030BD}"/>
              </a:ext>
            </a:extLst>
          </p:cNvPr>
          <p:cNvGrpSpPr/>
          <p:nvPr/>
        </p:nvGrpSpPr>
        <p:grpSpPr>
          <a:xfrm>
            <a:off x="1" y="1588"/>
            <a:ext cx="5521325" cy="6856412"/>
            <a:chOff x="1" y="1588"/>
            <a:chExt cx="5521325" cy="6856412"/>
          </a:xfrm>
        </p:grpSpPr>
        <p:sp>
          <p:nvSpPr>
            <p:cNvPr id="4" name="Freeform 5">
              <a:extLst>
                <a:ext uri="{FF2B5EF4-FFF2-40B4-BE49-F238E27FC236}">
                  <a16:creationId xmlns:a16="http://schemas.microsoft.com/office/drawing/2014/main" id="{4635222D-0315-4783-96D6-E690679D747B}"/>
                </a:ext>
              </a:extLst>
            </p:cNvPr>
            <p:cNvSpPr>
              <a:spLocks/>
            </p:cNvSpPr>
            <p:nvPr/>
          </p:nvSpPr>
          <p:spPr bwMode="auto">
            <a:xfrm>
              <a:off x="1" y="1588"/>
              <a:ext cx="5172075" cy="6856412"/>
            </a:xfrm>
            <a:custGeom>
              <a:avLst/>
              <a:gdLst>
                <a:gd name="T0" fmla="*/ 0 w 3258"/>
                <a:gd name="T1" fmla="*/ 0 h 4319"/>
                <a:gd name="T2" fmla="*/ 1739 w 3258"/>
                <a:gd name="T3" fmla="*/ 0 h 4319"/>
                <a:gd name="T4" fmla="*/ 2581 w 3258"/>
                <a:gd name="T5" fmla="*/ 699 h 4319"/>
                <a:gd name="T6" fmla="*/ 3258 w 3258"/>
                <a:gd name="T7" fmla="*/ 1888 h 4319"/>
                <a:gd name="T8" fmla="*/ 2643 w 3258"/>
                <a:gd name="T9" fmla="*/ 4319 h 4319"/>
                <a:gd name="T10" fmla="*/ 0 w 3258"/>
                <a:gd name="T11" fmla="*/ 4319 h 4319"/>
                <a:gd name="T12" fmla="*/ 0 w 325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258" h="4319">
                  <a:moveTo>
                    <a:pt x="0" y="0"/>
                  </a:moveTo>
                  <a:lnTo>
                    <a:pt x="1739" y="0"/>
                  </a:lnTo>
                  <a:lnTo>
                    <a:pt x="2581" y="699"/>
                  </a:lnTo>
                  <a:lnTo>
                    <a:pt x="3258" y="1888"/>
                  </a:lnTo>
                  <a:lnTo>
                    <a:pt x="2643" y="4319"/>
                  </a:lnTo>
                  <a:lnTo>
                    <a:pt x="0" y="4319"/>
                  </a:lnTo>
                  <a:lnTo>
                    <a:pt x="0" y="0"/>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
              <a:extLst>
                <a:ext uri="{FF2B5EF4-FFF2-40B4-BE49-F238E27FC236}">
                  <a16:creationId xmlns:a16="http://schemas.microsoft.com/office/drawing/2014/main" id="{D5F6BC5B-6F1D-4B20-9A7D-BB5D8783B359}"/>
                </a:ext>
              </a:extLst>
            </p:cNvPr>
            <p:cNvSpPr>
              <a:spLocks/>
            </p:cNvSpPr>
            <p:nvPr/>
          </p:nvSpPr>
          <p:spPr bwMode="auto">
            <a:xfrm>
              <a:off x="2760663" y="1588"/>
              <a:ext cx="1336675" cy="1109662"/>
            </a:xfrm>
            <a:custGeom>
              <a:avLst/>
              <a:gdLst>
                <a:gd name="T0" fmla="*/ 842 w 842"/>
                <a:gd name="T1" fmla="*/ 699 h 699"/>
                <a:gd name="T2" fmla="*/ 443 w 842"/>
                <a:gd name="T3" fmla="*/ 0 h 699"/>
                <a:gd name="T4" fmla="*/ 0 w 842"/>
                <a:gd name="T5" fmla="*/ 0 h 699"/>
                <a:gd name="T6" fmla="*/ 842 w 842"/>
                <a:gd name="T7" fmla="*/ 699 h 699"/>
              </a:gdLst>
              <a:ahLst/>
              <a:cxnLst>
                <a:cxn ang="0">
                  <a:pos x="T0" y="T1"/>
                </a:cxn>
                <a:cxn ang="0">
                  <a:pos x="T2" y="T3"/>
                </a:cxn>
                <a:cxn ang="0">
                  <a:pos x="T4" y="T5"/>
                </a:cxn>
                <a:cxn ang="0">
                  <a:pos x="T6" y="T7"/>
                </a:cxn>
              </a:cxnLst>
              <a:rect l="0" t="0" r="r" b="b"/>
              <a:pathLst>
                <a:path w="842" h="699">
                  <a:moveTo>
                    <a:pt x="842" y="699"/>
                  </a:moveTo>
                  <a:lnTo>
                    <a:pt x="443" y="0"/>
                  </a:lnTo>
                  <a:lnTo>
                    <a:pt x="0" y="0"/>
                  </a:lnTo>
                  <a:lnTo>
                    <a:pt x="842" y="699"/>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81AE8D94-B6B9-44B3-B158-8DD8BD7358E9}"/>
                </a:ext>
              </a:extLst>
            </p:cNvPr>
            <p:cNvSpPr>
              <a:spLocks/>
            </p:cNvSpPr>
            <p:nvPr/>
          </p:nvSpPr>
          <p:spPr bwMode="auto">
            <a:xfrm>
              <a:off x="3449412" y="1588"/>
              <a:ext cx="1306513" cy="1670050"/>
            </a:xfrm>
            <a:custGeom>
              <a:avLst/>
              <a:gdLst>
                <a:gd name="T0" fmla="*/ 0 w 823"/>
                <a:gd name="T1" fmla="*/ 0 h 1052"/>
                <a:gd name="T2" fmla="*/ 399 w 823"/>
                <a:gd name="T3" fmla="*/ 699 h 1052"/>
                <a:gd name="T4" fmla="*/ 823 w 823"/>
                <a:gd name="T5" fmla="*/ 1052 h 1052"/>
                <a:gd name="T6" fmla="*/ 531 w 823"/>
                <a:gd name="T7" fmla="*/ 0 h 1052"/>
                <a:gd name="T8" fmla="*/ 0 w 823"/>
                <a:gd name="T9" fmla="*/ 0 h 1052"/>
              </a:gdLst>
              <a:ahLst/>
              <a:cxnLst>
                <a:cxn ang="0">
                  <a:pos x="T0" y="T1"/>
                </a:cxn>
                <a:cxn ang="0">
                  <a:pos x="T2" y="T3"/>
                </a:cxn>
                <a:cxn ang="0">
                  <a:pos x="T4" y="T5"/>
                </a:cxn>
                <a:cxn ang="0">
                  <a:pos x="T6" y="T7"/>
                </a:cxn>
                <a:cxn ang="0">
                  <a:pos x="T8" y="T9"/>
                </a:cxn>
              </a:cxnLst>
              <a:rect l="0" t="0" r="r" b="b"/>
              <a:pathLst>
                <a:path w="823" h="1052">
                  <a:moveTo>
                    <a:pt x="0" y="0"/>
                  </a:moveTo>
                  <a:lnTo>
                    <a:pt x="399" y="699"/>
                  </a:lnTo>
                  <a:lnTo>
                    <a:pt x="823" y="1052"/>
                  </a:lnTo>
                  <a:lnTo>
                    <a:pt x="531" y="0"/>
                  </a:lnTo>
                  <a:lnTo>
                    <a:pt x="0" y="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E47811C8-8003-46E0-91ED-FA505E768AB2}"/>
                </a:ext>
              </a:extLst>
            </p:cNvPr>
            <p:cNvSpPr>
              <a:spLocks/>
            </p:cNvSpPr>
            <p:nvPr/>
          </p:nvSpPr>
          <p:spPr bwMode="auto">
            <a:xfrm>
              <a:off x="4097338" y="1111250"/>
              <a:ext cx="1009650" cy="1774825"/>
            </a:xfrm>
            <a:custGeom>
              <a:avLst/>
              <a:gdLst>
                <a:gd name="T0" fmla="*/ 424 w 636"/>
                <a:gd name="T1" fmla="*/ 353 h 1118"/>
                <a:gd name="T2" fmla="*/ 0 w 636"/>
                <a:gd name="T3" fmla="*/ 0 h 1118"/>
                <a:gd name="T4" fmla="*/ 636 w 636"/>
                <a:gd name="T5" fmla="*/ 1118 h 1118"/>
                <a:gd name="T6" fmla="*/ 424 w 636"/>
                <a:gd name="T7" fmla="*/ 353 h 1118"/>
              </a:gdLst>
              <a:ahLst/>
              <a:cxnLst>
                <a:cxn ang="0">
                  <a:pos x="T0" y="T1"/>
                </a:cxn>
                <a:cxn ang="0">
                  <a:pos x="T2" y="T3"/>
                </a:cxn>
                <a:cxn ang="0">
                  <a:pos x="T4" y="T5"/>
                </a:cxn>
                <a:cxn ang="0">
                  <a:pos x="T6" y="T7"/>
                </a:cxn>
              </a:cxnLst>
              <a:rect l="0" t="0" r="r" b="b"/>
              <a:pathLst>
                <a:path w="636" h="1118">
                  <a:moveTo>
                    <a:pt x="424" y="353"/>
                  </a:moveTo>
                  <a:lnTo>
                    <a:pt x="0" y="0"/>
                  </a:lnTo>
                  <a:lnTo>
                    <a:pt x="636" y="1118"/>
                  </a:lnTo>
                  <a:lnTo>
                    <a:pt x="424" y="353"/>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9">
              <a:extLst>
                <a:ext uri="{FF2B5EF4-FFF2-40B4-BE49-F238E27FC236}">
                  <a16:creationId xmlns:a16="http://schemas.microsoft.com/office/drawing/2014/main" id="{AED6DD98-B107-4A15-8DD3-981C6FC93B1C}"/>
                </a:ext>
              </a:extLst>
            </p:cNvPr>
            <p:cNvSpPr>
              <a:spLocks/>
            </p:cNvSpPr>
            <p:nvPr/>
          </p:nvSpPr>
          <p:spPr bwMode="auto">
            <a:xfrm>
              <a:off x="4770438" y="1671638"/>
              <a:ext cx="750888" cy="1327150"/>
            </a:xfrm>
            <a:custGeom>
              <a:avLst/>
              <a:gdLst>
                <a:gd name="T0" fmla="*/ 0 w 473"/>
                <a:gd name="T1" fmla="*/ 0 h 836"/>
                <a:gd name="T2" fmla="*/ 212 w 473"/>
                <a:gd name="T3" fmla="*/ 765 h 836"/>
                <a:gd name="T4" fmla="*/ 253 w 473"/>
                <a:gd name="T5" fmla="*/ 836 h 836"/>
                <a:gd name="T6" fmla="*/ 473 w 473"/>
                <a:gd name="T7" fmla="*/ 393 h 836"/>
                <a:gd name="T8" fmla="*/ 0 w 473"/>
                <a:gd name="T9" fmla="*/ 0 h 836"/>
              </a:gdLst>
              <a:ahLst/>
              <a:cxnLst>
                <a:cxn ang="0">
                  <a:pos x="T0" y="T1"/>
                </a:cxn>
                <a:cxn ang="0">
                  <a:pos x="T2" y="T3"/>
                </a:cxn>
                <a:cxn ang="0">
                  <a:pos x="T4" y="T5"/>
                </a:cxn>
                <a:cxn ang="0">
                  <a:pos x="T6" y="T7"/>
                </a:cxn>
                <a:cxn ang="0">
                  <a:pos x="T8" y="T9"/>
                </a:cxn>
              </a:cxnLst>
              <a:rect l="0" t="0" r="r" b="b"/>
              <a:pathLst>
                <a:path w="473" h="836">
                  <a:moveTo>
                    <a:pt x="0" y="0"/>
                  </a:moveTo>
                  <a:lnTo>
                    <a:pt x="212" y="765"/>
                  </a:lnTo>
                  <a:lnTo>
                    <a:pt x="253" y="836"/>
                  </a:lnTo>
                  <a:lnTo>
                    <a:pt x="473" y="393"/>
                  </a:lnTo>
                  <a:lnTo>
                    <a:pt x="0" y="0"/>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0">
              <a:extLst>
                <a:ext uri="{FF2B5EF4-FFF2-40B4-BE49-F238E27FC236}">
                  <a16:creationId xmlns:a16="http://schemas.microsoft.com/office/drawing/2014/main" id="{B8D85966-5373-4D66-B1BA-96D52CE14BD8}"/>
                </a:ext>
              </a:extLst>
            </p:cNvPr>
            <p:cNvSpPr>
              <a:spLocks/>
            </p:cNvSpPr>
            <p:nvPr/>
          </p:nvSpPr>
          <p:spPr bwMode="auto">
            <a:xfrm>
              <a:off x="3949701" y="3040063"/>
              <a:ext cx="1412875" cy="2417762"/>
            </a:xfrm>
            <a:custGeom>
              <a:avLst/>
              <a:gdLst>
                <a:gd name="T0" fmla="*/ 756 w 890"/>
                <a:gd name="T1" fmla="*/ 0 h 1523"/>
                <a:gd name="T2" fmla="*/ 0 w 890"/>
                <a:gd name="T3" fmla="*/ 1523 h 1523"/>
                <a:gd name="T4" fmla="*/ 890 w 890"/>
                <a:gd name="T5" fmla="*/ 477 h 1523"/>
                <a:gd name="T6" fmla="*/ 756 w 890"/>
                <a:gd name="T7" fmla="*/ 0 h 1523"/>
              </a:gdLst>
              <a:ahLst/>
              <a:cxnLst>
                <a:cxn ang="0">
                  <a:pos x="T0" y="T1"/>
                </a:cxn>
                <a:cxn ang="0">
                  <a:pos x="T2" y="T3"/>
                </a:cxn>
                <a:cxn ang="0">
                  <a:pos x="T4" y="T5"/>
                </a:cxn>
                <a:cxn ang="0">
                  <a:pos x="T6" y="T7"/>
                </a:cxn>
              </a:cxnLst>
              <a:rect l="0" t="0" r="r" b="b"/>
              <a:pathLst>
                <a:path w="890" h="1523">
                  <a:moveTo>
                    <a:pt x="756" y="0"/>
                  </a:moveTo>
                  <a:lnTo>
                    <a:pt x="0" y="1523"/>
                  </a:lnTo>
                  <a:lnTo>
                    <a:pt x="890" y="477"/>
                  </a:lnTo>
                  <a:lnTo>
                    <a:pt x="756" y="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1">
              <a:extLst>
                <a:ext uri="{FF2B5EF4-FFF2-40B4-BE49-F238E27FC236}">
                  <a16:creationId xmlns:a16="http://schemas.microsoft.com/office/drawing/2014/main" id="{18D062D2-0195-437C-8BB7-AE8380543B4E}"/>
                </a:ext>
              </a:extLst>
            </p:cNvPr>
            <p:cNvSpPr>
              <a:spLocks/>
            </p:cNvSpPr>
            <p:nvPr/>
          </p:nvSpPr>
          <p:spPr bwMode="auto">
            <a:xfrm>
              <a:off x="5139093" y="2998788"/>
              <a:ext cx="371475" cy="798512"/>
            </a:xfrm>
            <a:custGeom>
              <a:avLst/>
              <a:gdLst>
                <a:gd name="T0" fmla="*/ 0 w 234"/>
                <a:gd name="T1" fmla="*/ 26 h 503"/>
                <a:gd name="T2" fmla="*/ 134 w 234"/>
                <a:gd name="T3" fmla="*/ 503 h 503"/>
                <a:gd name="T4" fmla="*/ 234 w 234"/>
                <a:gd name="T5" fmla="*/ 386 h 503"/>
                <a:gd name="T6" fmla="*/ 14 w 234"/>
                <a:gd name="T7" fmla="*/ 0 h 503"/>
                <a:gd name="T8" fmla="*/ 0 w 234"/>
                <a:gd name="T9" fmla="*/ 26 h 503"/>
              </a:gdLst>
              <a:ahLst/>
              <a:cxnLst>
                <a:cxn ang="0">
                  <a:pos x="T0" y="T1"/>
                </a:cxn>
                <a:cxn ang="0">
                  <a:pos x="T2" y="T3"/>
                </a:cxn>
                <a:cxn ang="0">
                  <a:pos x="T4" y="T5"/>
                </a:cxn>
                <a:cxn ang="0">
                  <a:pos x="T6" y="T7"/>
                </a:cxn>
                <a:cxn ang="0">
                  <a:pos x="T8" y="T9"/>
                </a:cxn>
              </a:cxnLst>
              <a:rect l="0" t="0" r="r" b="b"/>
              <a:pathLst>
                <a:path w="234" h="503">
                  <a:moveTo>
                    <a:pt x="0" y="26"/>
                  </a:moveTo>
                  <a:lnTo>
                    <a:pt x="134" y="503"/>
                  </a:lnTo>
                  <a:lnTo>
                    <a:pt x="234" y="386"/>
                  </a:lnTo>
                  <a:lnTo>
                    <a:pt x="14" y="0"/>
                  </a:lnTo>
                  <a:lnTo>
                    <a:pt x="0" y="26"/>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2">
              <a:extLst>
                <a:ext uri="{FF2B5EF4-FFF2-40B4-BE49-F238E27FC236}">
                  <a16:creationId xmlns:a16="http://schemas.microsoft.com/office/drawing/2014/main" id="{C5EE8B3A-CADD-49C2-9403-07D1EBAD0A94}"/>
                </a:ext>
              </a:extLst>
            </p:cNvPr>
            <p:cNvSpPr>
              <a:spLocks/>
            </p:cNvSpPr>
            <p:nvPr/>
          </p:nvSpPr>
          <p:spPr bwMode="auto">
            <a:xfrm>
              <a:off x="3254376" y="3797300"/>
              <a:ext cx="2266950" cy="3060700"/>
            </a:xfrm>
            <a:custGeom>
              <a:avLst/>
              <a:gdLst>
                <a:gd name="T0" fmla="*/ 1328 w 1428"/>
                <a:gd name="T1" fmla="*/ 0 h 1928"/>
                <a:gd name="T2" fmla="*/ 438 w 1428"/>
                <a:gd name="T3" fmla="*/ 1046 h 1928"/>
                <a:gd name="T4" fmla="*/ 0 w 1428"/>
                <a:gd name="T5" fmla="*/ 1928 h 1928"/>
                <a:gd name="T6" fmla="*/ 593 w 1428"/>
                <a:gd name="T7" fmla="*/ 1928 h 1928"/>
                <a:gd name="T8" fmla="*/ 1428 w 1428"/>
                <a:gd name="T9" fmla="*/ 363 h 1928"/>
                <a:gd name="T10" fmla="*/ 1328 w 1428"/>
                <a:gd name="T11" fmla="*/ 0 h 1928"/>
              </a:gdLst>
              <a:ahLst/>
              <a:cxnLst>
                <a:cxn ang="0">
                  <a:pos x="T0" y="T1"/>
                </a:cxn>
                <a:cxn ang="0">
                  <a:pos x="T2" y="T3"/>
                </a:cxn>
                <a:cxn ang="0">
                  <a:pos x="T4" y="T5"/>
                </a:cxn>
                <a:cxn ang="0">
                  <a:pos x="T6" y="T7"/>
                </a:cxn>
                <a:cxn ang="0">
                  <a:pos x="T8" y="T9"/>
                </a:cxn>
                <a:cxn ang="0">
                  <a:pos x="T10" y="T11"/>
                </a:cxn>
              </a:cxnLst>
              <a:rect l="0" t="0" r="r" b="b"/>
              <a:pathLst>
                <a:path w="1428" h="1928">
                  <a:moveTo>
                    <a:pt x="1328" y="0"/>
                  </a:moveTo>
                  <a:lnTo>
                    <a:pt x="438" y="1046"/>
                  </a:lnTo>
                  <a:lnTo>
                    <a:pt x="0" y="1928"/>
                  </a:lnTo>
                  <a:lnTo>
                    <a:pt x="593" y="1928"/>
                  </a:lnTo>
                  <a:lnTo>
                    <a:pt x="1428" y="363"/>
                  </a:lnTo>
                  <a:lnTo>
                    <a:pt x="1328" y="0"/>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3">
              <a:extLst>
                <a:ext uri="{FF2B5EF4-FFF2-40B4-BE49-F238E27FC236}">
                  <a16:creationId xmlns:a16="http://schemas.microsoft.com/office/drawing/2014/main" id="{F98BA4DA-1EF5-42FB-AFCF-0A022574E8B6}"/>
                </a:ext>
              </a:extLst>
            </p:cNvPr>
            <p:cNvSpPr>
              <a:spLocks/>
            </p:cNvSpPr>
            <p:nvPr/>
          </p:nvSpPr>
          <p:spPr bwMode="auto">
            <a:xfrm>
              <a:off x="2760663" y="5457825"/>
              <a:ext cx="1189038" cy="1400175"/>
            </a:xfrm>
            <a:custGeom>
              <a:avLst/>
              <a:gdLst>
                <a:gd name="T0" fmla="*/ 311 w 749"/>
                <a:gd name="T1" fmla="*/ 882 h 882"/>
                <a:gd name="T2" fmla="*/ 749 w 749"/>
                <a:gd name="T3" fmla="*/ 0 h 882"/>
                <a:gd name="T4" fmla="*/ 0 w 749"/>
                <a:gd name="T5" fmla="*/ 882 h 882"/>
                <a:gd name="T6" fmla="*/ 311 w 749"/>
                <a:gd name="T7" fmla="*/ 882 h 882"/>
              </a:gdLst>
              <a:ahLst/>
              <a:cxnLst>
                <a:cxn ang="0">
                  <a:pos x="T0" y="T1"/>
                </a:cxn>
                <a:cxn ang="0">
                  <a:pos x="T2" y="T3"/>
                </a:cxn>
                <a:cxn ang="0">
                  <a:pos x="T4" y="T5"/>
                </a:cxn>
                <a:cxn ang="0">
                  <a:pos x="T6" y="T7"/>
                </a:cxn>
              </a:cxnLst>
              <a:rect l="0" t="0" r="r" b="b"/>
              <a:pathLst>
                <a:path w="749" h="882">
                  <a:moveTo>
                    <a:pt x="311" y="882"/>
                  </a:moveTo>
                  <a:lnTo>
                    <a:pt x="749" y="0"/>
                  </a:lnTo>
                  <a:lnTo>
                    <a:pt x="0" y="882"/>
                  </a:lnTo>
                  <a:lnTo>
                    <a:pt x="311" y="882"/>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7CFEFF7C-FC8E-4E69-9F52-660BCFDAC4D1}"/>
              </a:ext>
            </a:extLst>
          </p:cNvPr>
          <p:cNvGrpSpPr>
            <a:grpSpLocks/>
          </p:cNvGrpSpPr>
          <p:nvPr/>
        </p:nvGrpSpPr>
        <p:grpSpPr>
          <a:xfrm>
            <a:off x="6253390" y="1873690"/>
            <a:ext cx="2445002" cy="586989"/>
            <a:chOff x="4124325" y="4591050"/>
            <a:chExt cx="2479675" cy="595313"/>
          </a:xfrm>
        </p:grpSpPr>
        <p:grpSp>
          <p:nvGrpSpPr>
            <p:cNvPr id="14" name="Group 13">
              <a:extLst>
                <a:ext uri="{FF2B5EF4-FFF2-40B4-BE49-F238E27FC236}">
                  <a16:creationId xmlns:a16="http://schemas.microsoft.com/office/drawing/2014/main" id="{83154726-4EE4-47ED-A212-50F7CAB11B26}"/>
                </a:ext>
              </a:extLst>
            </p:cNvPr>
            <p:cNvGrpSpPr/>
            <p:nvPr/>
          </p:nvGrpSpPr>
          <p:grpSpPr>
            <a:xfrm>
              <a:off x="4124325" y="4591050"/>
              <a:ext cx="460375" cy="595313"/>
              <a:chOff x="4124325" y="4591050"/>
              <a:chExt cx="460375" cy="595313"/>
            </a:xfrm>
          </p:grpSpPr>
          <p:sp>
            <p:nvSpPr>
              <p:cNvPr id="16" name="Freeform 25">
                <a:extLst>
                  <a:ext uri="{FF2B5EF4-FFF2-40B4-BE49-F238E27FC236}">
                    <a16:creationId xmlns:a16="http://schemas.microsoft.com/office/drawing/2014/main" id="{FBC573F0-0275-4D44-B3FE-D08A0F184FB0}"/>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6">
                <a:extLst>
                  <a:ext uri="{FF2B5EF4-FFF2-40B4-BE49-F238E27FC236}">
                    <a16:creationId xmlns:a16="http://schemas.microsoft.com/office/drawing/2014/main" id="{D6F1A854-E92E-48CA-ADAD-585911B0CE6F}"/>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7">
                <a:extLst>
                  <a:ext uri="{FF2B5EF4-FFF2-40B4-BE49-F238E27FC236}">
                    <a16:creationId xmlns:a16="http://schemas.microsoft.com/office/drawing/2014/main" id="{B27D6C3A-FC76-42D5-BEB4-A0761B45A885}"/>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8">
                <a:extLst>
                  <a:ext uri="{FF2B5EF4-FFF2-40B4-BE49-F238E27FC236}">
                    <a16:creationId xmlns:a16="http://schemas.microsoft.com/office/drawing/2014/main" id="{D9ECE05A-6B6C-47CA-93CA-AA9BA2885CCA}"/>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9">
                <a:extLst>
                  <a:ext uri="{FF2B5EF4-FFF2-40B4-BE49-F238E27FC236}">
                    <a16:creationId xmlns:a16="http://schemas.microsoft.com/office/drawing/2014/main" id="{4917CDE8-FDCC-43E0-86B9-E34AEB479303}"/>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0">
                <a:extLst>
                  <a:ext uri="{FF2B5EF4-FFF2-40B4-BE49-F238E27FC236}">
                    <a16:creationId xmlns:a16="http://schemas.microsoft.com/office/drawing/2014/main" id="{D61F04B0-0841-41C9-B561-3CA1B1AF6B0F}"/>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1">
                <a:extLst>
                  <a:ext uri="{FF2B5EF4-FFF2-40B4-BE49-F238E27FC236}">
                    <a16:creationId xmlns:a16="http://schemas.microsoft.com/office/drawing/2014/main" id="{9928F9A3-D252-4C81-BABE-2441EBCA5553}"/>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2">
                <a:extLst>
                  <a:ext uri="{FF2B5EF4-FFF2-40B4-BE49-F238E27FC236}">
                    <a16:creationId xmlns:a16="http://schemas.microsoft.com/office/drawing/2014/main" id="{F57CFECC-B4AE-48B4-A350-93952ED9EC47}"/>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3">
                <a:extLst>
                  <a:ext uri="{FF2B5EF4-FFF2-40B4-BE49-F238E27FC236}">
                    <a16:creationId xmlns:a16="http://schemas.microsoft.com/office/drawing/2014/main" id="{9FAFEC81-ABB6-4EC4-9D85-9826B237980E}"/>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Freeform 34">
              <a:extLst>
                <a:ext uri="{FF2B5EF4-FFF2-40B4-BE49-F238E27FC236}">
                  <a16:creationId xmlns:a16="http://schemas.microsoft.com/office/drawing/2014/main" id="{DBDFE334-6299-4A00-9068-2E49EE089BFB}"/>
                </a:ext>
              </a:extLst>
            </p:cNvPr>
            <p:cNvSpPr>
              <a:spLocks noEditPoints="1"/>
            </p:cNvSpPr>
            <p:nvPr/>
          </p:nvSpPr>
          <p:spPr bwMode="auto">
            <a:xfrm>
              <a:off x="4873625" y="4746625"/>
              <a:ext cx="1730375" cy="284162"/>
            </a:xfrm>
            <a:custGeom>
              <a:avLst/>
              <a:gdLst>
                <a:gd name="T0" fmla="*/ 1399 w 1571"/>
                <a:gd name="T1" fmla="*/ 170 h 257"/>
                <a:gd name="T2" fmla="*/ 1505 w 1571"/>
                <a:gd name="T3" fmla="*/ 170 h 257"/>
                <a:gd name="T4" fmla="*/ 1471 w 1571"/>
                <a:gd name="T5" fmla="*/ 4 h 257"/>
                <a:gd name="T6" fmla="*/ 1333 w 1571"/>
                <a:gd name="T7" fmla="*/ 252 h 257"/>
                <a:gd name="T8" fmla="*/ 1390 w 1571"/>
                <a:gd name="T9" fmla="*/ 197 h 257"/>
                <a:gd name="T10" fmla="*/ 1536 w 1571"/>
                <a:gd name="T11" fmla="*/ 252 h 257"/>
                <a:gd name="T12" fmla="*/ 1208 w 1571"/>
                <a:gd name="T13" fmla="*/ 252 h 257"/>
                <a:gd name="T14" fmla="*/ 1287 w 1571"/>
                <a:gd name="T15" fmla="*/ 31 h 257"/>
                <a:gd name="T16" fmla="*/ 1098 w 1571"/>
                <a:gd name="T17" fmla="*/ 4 h 257"/>
                <a:gd name="T18" fmla="*/ 1177 w 1571"/>
                <a:gd name="T19" fmla="*/ 31 h 257"/>
                <a:gd name="T20" fmla="*/ 1208 w 1571"/>
                <a:gd name="T21" fmla="*/ 252 h 257"/>
                <a:gd name="T22" fmla="*/ 867 w 1571"/>
                <a:gd name="T23" fmla="*/ 126 h 257"/>
                <a:gd name="T24" fmla="*/ 932 w 1571"/>
                <a:gd name="T25" fmla="*/ 31 h 257"/>
                <a:gd name="T26" fmla="*/ 932 w 1571"/>
                <a:gd name="T27" fmla="*/ 126 h 257"/>
                <a:gd name="T28" fmla="*/ 950 w 1571"/>
                <a:gd name="T29" fmla="*/ 151 h 257"/>
                <a:gd name="T30" fmla="*/ 936 w 1571"/>
                <a:gd name="T31" fmla="*/ 4 h 257"/>
                <a:gd name="T32" fmla="*/ 836 w 1571"/>
                <a:gd name="T33" fmla="*/ 252 h 257"/>
                <a:gd name="T34" fmla="*/ 867 w 1571"/>
                <a:gd name="T35" fmla="*/ 154 h 257"/>
                <a:gd name="T36" fmla="*/ 980 w 1571"/>
                <a:gd name="T37" fmla="*/ 252 h 257"/>
                <a:gd name="T38" fmla="*/ 681 w 1571"/>
                <a:gd name="T39" fmla="*/ 170 h 257"/>
                <a:gd name="T40" fmla="*/ 629 w 1571"/>
                <a:gd name="T41" fmla="*/ 36 h 257"/>
                <a:gd name="T42" fmla="*/ 748 w 1571"/>
                <a:gd name="T43" fmla="*/ 252 h 257"/>
                <a:gd name="T44" fmla="*/ 609 w 1571"/>
                <a:gd name="T45" fmla="*/ 4 h 257"/>
                <a:gd name="T46" fmla="*/ 545 w 1571"/>
                <a:gd name="T47" fmla="*/ 252 h 257"/>
                <a:gd name="T48" fmla="*/ 691 w 1571"/>
                <a:gd name="T49" fmla="*/ 197 h 257"/>
                <a:gd name="T50" fmla="*/ 748 w 1571"/>
                <a:gd name="T51" fmla="*/ 252 h 257"/>
                <a:gd name="T52" fmla="*/ 320 w 1571"/>
                <a:gd name="T53" fmla="*/ 126 h 257"/>
                <a:gd name="T54" fmla="*/ 385 w 1571"/>
                <a:gd name="T55" fmla="*/ 31 h 257"/>
                <a:gd name="T56" fmla="*/ 385 w 1571"/>
                <a:gd name="T57" fmla="*/ 126 h 257"/>
                <a:gd name="T58" fmla="*/ 320 w 1571"/>
                <a:gd name="T59" fmla="*/ 154 h 257"/>
                <a:gd name="T60" fmla="*/ 467 w 1571"/>
                <a:gd name="T61" fmla="*/ 79 h 257"/>
                <a:gd name="T62" fmla="*/ 289 w 1571"/>
                <a:gd name="T63" fmla="*/ 4 h 257"/>
                <a:gd name="T64" fmla="*/ 320 w 1571"/>
                <a:gd name="T65" fmla="*/ 252 h 257"/>
                <a:gd name="T66" fmla="*/ 187 w 1571"/>
                <a:gd name="T67" fmla="*/ 184 h 257"/>
                <a:gd name="T68" fmla="*/ 91 w 1571"/>
                <a:gd name="T69" fmla="*/ 28 h 257"/>
                <a:gd name="T70" fmla="*/ 181 w 1571"/>
                <a:gd name="T71" fmla="*/ 35 h 257"/>
                <a:gd name="T72" fmla="*/ 8 w 1571"/>
                <a:gd name="T73" fmla="*/ 69 h 257"/>
                <a:gd name="T74" fmla="*/ 97 w 1571"/>
                <a:gd name="T75" fmla="*/ 229 h 257"/>
                <a:gd name="T76" fmla="*/ 0 w 1571"/>
                <a:gd name="T77" fmla="*/ 21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7">
                  <a:moveTo>
                    <a:pt x="1505" y="170"/>
                  </a:moveTo>
                  <a:cubicBezTo>
                    <a:pt x="1399" y="170"/>
                    <a:pt x="1399" y="170"/>
                    <a:pt x="1399" y="170"/>
                  </a:cubicBezTo>
                  <a:cubicBezTo>
                    <a:pt x="1452" y="36"/>
                    <a:pt x="1452" y="36"/>
                    <a:pt x="1452" y="36"/>
                  </a:cubicBezTo>
                  <a:lnTo>
                    <a:pt x="1505" y="170"/>
                  </a:lnTo>
                  <a:close/>
                  <a:moveTo>
                    <a:pt x="1571" y="252"/>
                  </a:moveTo>
                  <a:cubicBezTo>
                    <a:pt x="1471" y="4"/>
                    <a:pt x="1471" y="4"/>
                    <a:pt x="1471" y="4"/>
                  </a:cubicBezTo>
                  <a:cubicBezTo>
                    <a:pt x="1433" y="4"/>
                    <a:pt x="1433" y="4"/>
                    <a:pt x="1433" y="4"/>
                  </a:cubicBezTo>
                  <a:cubicBezTo>
                    <a:pt x="1333" y="252"/>
                    <a:pt x="1333" y="252"/>
                    <a:pt x="1333" y="252"/>
                  </a:cubicBezTo>
                  <a:cubicBezTo>
                    <a:pt x="1368" y="252"/>
                    <a:pt x="1368" y="252"/>
                    <a:pt x="1368" y="252"/>
                  </a:cubicBezTo>
                  <a:cubicBezTo>
                    <a:pt x="1390" y="197"/>
                    <a:pt x="1390" y="197"/>
                    <a:pt x="1390" y="197"/>
                  </a:cubicBezTo>
                  <a:cubicBezTo>
                    <a:pt x="1514" y="197"/>
                    <a:pt x="1514" y="197"/>
                    <a:pt x="1514" y="197"/>
                  </a:cubicBezTo>
                  <a:cubicBezTo>
                    <a:pt x="1536" y="252"/>
                    <a:pt x="1536" y="252"/>
                    <a:pt x="1536" y="252"/>
                  </a:cubicBezTo>
                  <a:lnTo>
                    <a:pt x="1571" y="252"/>
                  </a:lnTo>
                  <a:close/>
                  <a:moveTo>
                    <a:pt x="1208" y="252"/>
                  </a:moveTo>
                  <a:cubicBezTo>
                    <a:pt x="1208" y="31"/>
                    <a:pt x="1208" y="31"/>
                    <a:pt x="1208" y="31"/>
                  </a:cubicBezTo>
                  <a:cubicBezTo>
                    <a:pt x="1287" y="31"/>
                    <a:pt x="1287" y="31"/>
                    <a:pt x="1287" y="31"/>
                  </a:cubicBezTo>
                  <a:cubicBezTo>
                    <a:pt x="1287" y="4"/>
                    <a:pt x="1287" y="4"/>
                    <a:pt x="1287" y="4"/>
                  </a:cubicBezTo>
                  <a:cubicBezTo>
                    <a:pt x="1098" y="4"/>
                    <a:pt x="1098" y="4"/>
                    <a:pt x="1098" y="4"/>
                  </a:cubicBezTo>
                  <a:cubicBezTo>
                    <a:pt x="1098" y="31"/>
                    <a:pt x="1098" y="31"/>
                    <a:pt x="1098" y="31"/>
                  </a:cubicBezTo>
                  <a:cubicBezTo>
                    <a:pt x="1177" y="31"/>
                    <a:pt x="1177" y="31"/>
                    <a:pt x="1177" y="31"/>
                  </a:cubicBezTo>
                  <a:cubicBezTo>
                    <a:pt x="1177" y="252"/>
                    <a:pt x="1177" y="252"/>
                    <a:pt x="1177" y="252"/>
                  </a:cubicBezTo>
                  <a:lnTo>
                    <a:pt x="1208" y="252"/>
                  </a:lnTo>
                  <a:close/>
                  <a:moveTo>
                    <a:pt x="932" y="126"/>
                  </a:moveTo>
                  <a:cubicBezTo>
                    <a:pt x="867" y="126"/>
                    <a:pt x="867" y="126"/>
                    <a:pt x="867" y="126"/>
                  </a:cubicBezTo>
                  <a:cubicBezTo>
                    <a:pt x="867" y="31"/>
                    <a:pt x="867" y="31"/>
                    <a:pt x="867" y="31"/>
                  </a:cubicBezTo>
                  <a:cubicBezTo>
                    <a:pt x="932" y="31"/>
                    <a:pt x="932" y="31"/>
                    <a:pt x="932" y="31"/>
                  </a:cubicBezTo>
                  <a:cubicBezTo>
                    <a:pt x="962" y="31"/>
                    <a:pt x="982" y="51"/>
                    <a:pt x="982" y="79"/>
                  </a:cubicBezTo>
                  <a:cubicBezTo>
                    <a:pt x="982" y="107"/>
                    <a:pt x="962" y="126"/>
                    <a:pt x="932" y="126"/>
                  </a:cubicBezTo>
                  <a:close/>
                  <a:moveTo>
                    <a:pt x="1017" y="252"/>
                  </a:moveTo>
                  <a:cubicBezTo>
                    <a:pt x="950" y="151"/>
                    <a:pt x="950" y="151"/>
                    <a:pt x="950" y="151"/>
                  </a:cubicBezTo>
                  <a:cubicBezTo>
                    <a:pt x="984" y="148"/>
                    <a:pt x="1014" y="123"/>
                    <a:pt x="1014" y="79"/>
                  </a:cubicBezTo>
                  <a:cubicBezTo>
                    <a:pt x="1014" y="33"/>
                    <a:pt x="982" y="4"/>
                    <a:pt x="936" y="4"/>
                  </a:cubicBezTo>
                  <a:cubicBezTo>
                    <a:pt x="836" y="4"/>
                    <a:pt x="836" y="4"/>
                    <a:pt x="836" y="4"/>
                  </a:cubicBezTo>
                  <a:cubicBezTo>
                    <a:pt x="836" y="252"/>
                    <a:pt x="836" y="252"/>
                    <a:pt x="836" y="252"/>
                  </a:cubicBezTo>
                  <a:cubicBezTo>
                    <a:pt x="867" y="252"/>
                    <a:pt x="867" y="252"/>
                    <a:pt x="867" y="252"/>
                  </a:cubicBezTo>
                  <a:cubicBezTo>
                    <a:pt x="867" y="154"/>
                    <a:pt x="867" y="154"/>
                    <a:pt x="867" y="154"/>
                  </a:cubicBezTo>
                  <a:cubicBezTo>
                    <a:pt x="917" y="154"/>
                    <a:pt x="917" y="154"/>
                    <a:pt x="917" y="154"/>
                  </a:cubicBezTo>
                  <a:cubicBezTo>
                    <a:pt x="980" y="252"/>
                    <a:pt x="980" y="252"/>
                    <a:pt x="980" y="252"/>
                  </a:cubicBezTo>
                  <a:lnTo>
                    <a:pt x="1017" y="252"/>
                  </a:lnTo>
                  <a:close/>
                  <a:moveTo>
                    <a:pt x="681" y="170"/>
                  </a:moveTo>
                  <a:cubicBezTo>
                    <a:pt x="576" y="170"/>
                    <a:pt x="576" y="170"/>
                    <a:pt x="576" y="170"/>
                  </a:cubicBezTo>
                  <a:cubicBezTo>
                    <a:pt x="629" y="36"/>
                    <a:pt x="629" y="36"/>
                    <a:pt x="629" y="36"/>
                  </a:cubicBezTo>
                  <a:lnTo>
                    <a:pt x="681" y="170"/>
                  </a:lnTo>
                  <a:close/>
                  <a:moveTo>
                    <a:pt x="748" y="252"/>
                  </a:moveTo>
                  <a:cubicBezTo>
                    <a:pt x="648" y="4"/>
                    <a:pt x="648" y="4"/>
                    <a:pt x="648" y="4"/>
                  </a:cubicBezTo>
                  <a:cubicBezTo>
                    <a:pt x="609" y="4"/>
                    <a:pt x="609" y="4"/>
                    <a:pt x="609" y="4"/>
                  </a:cubicBezTo>
                  <a:cubicBezTo>
                    <a:pt x="509" y="252"/>
                    <a:pt x="509" y="252"/>
                    <a:pt x="509" y="252"/>
                  </a:cubicBezTo>
                  <a:cubicBezTo>
                    <a:pt x="545" y="252"/>
                    <a:pt x="545" y="252"/>
                    <a:pt x="545" y="252"/>
                  </a:cubicBezTo>
                  <a:cubicBezTo>
                    <a:pt x="567" y="197"/>
                    <a:pt x="567" y="197"/>
                    <a:pt x="567" y="197"/>
                  </a:cubicBezTo>
                  <a:cubicBezTo>
                    <a:pt x="691" y="197"/>
                    <a:pt x="691" y="197"/>
                    <a:pt x="691" y="197"/>
                  </a:cubicBezTo>
                  <a:cubicBezTo>
                    <a:pt x="713" y="252"/>
                    <a:pt x="713" y="252"/>
                    <a:pt x="713" y="252"/>
                  </a:cubicBezTo>
                  <a:lnTo>
                    <a:pt x="748" y="252"/>
                  </a:lnTo>
                  <a:close/>
                  <a:moveTo>
                    <a:pt x="385" y="126"/>
                  </a:moveTo>
                  <a:cubicBezTo>
                    <a:pt x="320" y="126"/>
                    <a:pt x="320" y="126"/>
                    <a:pt x="320" y="126"/>
                  </a:cubicBezTo>
                  <a:cubicBezTo>
                    <a:pt x="320" y="31"/>
                    <a:pt x="320" y="31"/>
                    <a:pt x="320" y="31"/>
                  </a:cubicBezTo>
                  <a:cubicBezTo>
                    <a:pt x="385" y="31"/>
                    <a:pt x="385" y="31"/>
                    <a:pt x="385" y="31"/>
                  </a:cubicBezTo>
                  <a:cubicBezTo>
                    <a:pt x="415" y="31"/>
                    <a:pt x="435" y="51"/>
                    <a:pt x="435" y="79"/>
                  </a:cubicBezTo>
                  <a:cubicBezTo>
                    <a:pt x="435" y="107"/>
                    <a:pt x="415" y="126"/>
                    <a:pt x="385" y="126"/>
                  </a:cubicBezTo>
                  <a:close/>
                  <a:moveTo>
                    <a:pt x="320" y="252"/>
                  </a:moveTo>
                  <a:cubicBezTo>
                    <a:pt x="320" y="154"/>
                    <a:pt x="320" y="154"/>
                    <a:pt x="320" y="154"/>
                  </a:cubicBezTo>
                  <a:cubicBezTo>
                    <a:pt x="389" y="154"/>
                    <a:pt x="389" y="154"/>
                    <a:pt x="389" y="154"/>
                  </a:cubicBezTo>
                  <a:cubicBezTo>
                    <a:pt x="438" y="154"/>
                    <a:pt x="467" y="119"/>
                    <a:pt x="467" y="79"/>
                  </a:cubicBezTo>
                  <a:cubicBezTo>
                    <a:pt x="467" y="38"/>
                    <a:pt x="439" y="4"/>
                    <a:pt x="389" y="4"/>
                  </a:cubicBezTo>
                  <a:cubicBezTo>
                    <a:pt x="289" y="4"/>
                    <a:pt x="289" y="4"/>
                    <a:pt x="289" y="4"/>
                  </a:cubicBezTo>
                  <a:cubicBezTo>
                    <a:pt x="289" y="252"/>
                    <a:pt x="289" y="252"/>
                    <a:pt x="289" y="252"/>
                  </a:cubicBezTo>
                  <a:lnTo>
                    <a:pt x="320" y="252"/>
                  </a:lnTo>
                  <a:close/>
                  <a:moveTo>
                    <a:pt x="95" y="257"/>
                  </a:moveTo>
                  <a:cubicBezTo>
                    <a:pt x="162" y="257"/>
                    <a:pt x="187" y="220"/>
                    <a:pt x="187" y="184"/>
                  </a:cubicBezTo>
                  <a:cubicBezTo>
                    <a:pt x="187" y="91"/>
                    <a:pt x="40" y="123"/>
                    <a:pt x="40" y="67"/>
                  </a:cubicBezTo>
                  <a:cubicBezTo>
                    <a:pt x="40" y="44"/>
                    <a:pt x="61" y="28"/>
                    <a:pt x="91" y="28"/>
                  </a:cubicBezTo>
                  <a:cubicBezTo>
                    <a:pt x="118" y="28"/>
                    <a:pt x="144" y="37"/>
                    <a:pt x="163" y="57"/>
                  </a:cubicBezTo>
                  <a:cubicBezTo>
                    <a:pt x="181" y="35"/>
                    <a:pt x="181" y="35"/>
                    <a:pt x="181" y="35"/>
                  </a:cubicBezTo>
                  <a:cubicBezTo>
                    <a:pt x="161" y="13"/>
                    <a:pt x="131" y="0"/>
                    <a:pt x="93" y="0"/>
                  </a:cubicBezTo>
                  <a:cubicBezTo>
                    <a:pt x="44" y="0"/>
                    <a:pt x="8" y="28"/>
                    <a:pt x="8" y="69"/>
                  </a:cubicBezTo>
                  <a:cubicBezTo>
                    <a:pt x="8" y="158"/>
                    <a:pt x="155" y="122"/>
                    <a:pt x="155" y="186"/>
                  </a:cubicBezTo>
                  <a:cubicBezTo>
                    <a:pt x="155" y="205"/>
                    <a:pt x="141" y="229"/>
                    <a:pt x="97" y="229"/>
                  </a:cubicBezTo>
                  <a:cubicBezTo>
                    <a:pt x="61" y="229"/>
                    <a:pt x="35" y="212"/>
                    <a:pt x="18" y="194"/>
                  </a:cubicBezTo>
                  <a:cubicBezTo>
                    <a:pt x="0" y="217"/>
                    <a:pt x="0" y="217"/>
                    <a:pt x="0" y="217"/>
                  </a:cubicBezTo>
                  <a:cubicBezTo>
                    <a:pt x="20" y="240"/>
                    <a:pt x="52" y="257"/>
                    <a:pt x="95" y="2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Title 1">
            <a:extLst>
              <a:ext uri="{FF2B5EF4-FFF2-40B4-BE49-F238E27FC236}">
                <a16:creationId xmlns:a16="http://schemas.microsoft.com/office/drawing/2014/main" id="{CB6EFD8C-F6DA-4D3D-BB60-6C6DF9C7D2AF}"/>
              </a:ext>
            </a:extLst>
          </p:cNvPr>
          <p:cNvSpPr>
            <a:spLocks noGrp="1"/>
          </p:cNvSpPr>
          <p:nvPr>
            <p:ph type="title"/>
          </p:nvPr>
        </p:nvSpPr>
        <p:spPr>
          <a:xfrm>
            <a:off x="6253391" y="2884236"/>
            <a:ext cx="5503180" cy="1089528"/>
          </a:xfrm>
        </p:spPr>
        <p:txBody>
          <a:bodyPr anchor="ctr"/>
          <a:lstStyle>
            <a:lvl1pPr>
              <a:defRPr sz="4000" b="0">
                <a:solidFill>
                  <a:schemeClr val="accent1"/>
                </a:solidFill>
                <a:latin typeface="+mn-lt"/>
              </a:defRPr>
            </a:lvl1pPr>
          </a:lstStyle>
          <a:p>
            <a:r>
              <a:rPr lang="en-US" dirty="0"/>
              <a:t>Click to edit Master title style</a:t>
            </a:r>
          </a:p>
        </p:txBody>
      </p:sp>
      <p:sp>
        <p:nvSpPr>
          <p:cNvPr id="32" name="Text Placeholder 31">
            <a:extLst>
              <a:ext uri="{FF2B5EF4-FFF2-40B4-BE49-F238E27FC236}">
                <a16:creationId xmlns:a16="http://schemas.microsoft.com/office/drawing/2014/main" id="{76260023-D145-4ACF-A998-C4B169D6A0E3}"/>
              </a:ext>
            </a:extLst>
          </p:cNvPr>
          <p:cNvSpPr>
            <a:spLocks noGrp="1"/>
          </p:cNvSpPr>
          <p:nvPr>
            <p:ph type="body" sz="quarter" idx="10"/>
          </p:nvPr>
        </p:nvSpPr>
        <p:spPr>
          <a:xfrm>
            <a:off x="6253389" y="4050681"/>
            <a:ext cx="5503179" cy="1085276"/>
          </a:xfrm>
        </p:spPr>
        <p:txBody>
          <a:bodyPr>
            <a:normAutofit/>
          </a:bodyPr>
          <a:lstStyle>
            <a:lvl1pPr marL="0" indent="0">
              <a:buNone/>
              <a:defRPr sz="1800"/>
            </a:lvl1pPr>
            <a:lvl2pPr>
              <a:defRPr sz="1800"/>
            </a:lvl2pPr>
          </a:lstStyle>
          <a:p>
            <a:pPr lvl="0"/>
            <a:r>
              <a:rPr lang="en-US" dirty="0"/>
              <a:t>Edit Master text styles</a:t>
            </a:r>
          </a:p>
        </p:txBody>
      </p:sp>
      <p:grpSp>
        <p:nvGrpSpPr>
          <p:cNvPr id="27" name="Group 26">
            <a:extLst>
              <a:ext uri="{FF2B5EF4-FFF2-40B4-BE49-F238E27FC236}">
                <a16:creationId xmlns:a16="http://schemas.microsoft.com/office/drawing/2014/main" id="{07EF4A5E-964F-443E-BE2B-139C1B066BF2}"/>
              </a:ext>
            </a:extLst>
          </p:cNvPr>
          <p:cNvGrpSpPr/>
          <p:nvPr/>
        </p:nvGrpSpPr>
        <p:grpSpPr>
          <a:xfrm>
            <a:off x="1" y="1588"/>
            <a:ext cx="5521325" cy="6856412"/>
            <a:chOff x="1" y="1588"/>
            <a:chExt cx="5521325" cy="6856412"/>
          </a:xfrm>
        </p:grpSpPr>
        <p:sp>
          <p:nvSpPr>
            <p:cNvPr id="28" name="Freeform 5">
              <a:extLst>
                <a:ext uri="{FF2B5EF4-FFF2-40B4-BE49-F238E27FC236}">
                  <a16:creationId xmlns:a16="http://schemas.microsoft.com/office/drawing/2014/main" id="{8895497D-19E3-40A9-853D-1F80BCEE1ACB}"/>
                </a:ext>
              </a:extLst>
            </p:cNvPr>
            <p:cNvSpPr>
              <a:spLocks/>
            </p:cNvSpPr>
            <p:nvPr/>
          </p:nvSpPr>
          <p:spPr bwMode="auto">
            <a:xfrm>
              <a:off x="1" y="1588"/>
              <a:ext cx="5172075" cy="6856412"/>
            </a:xfrm>
            <a:custGeom>
              <a:avLst/>
              <a:gdLst>
                <a:gd name="T0" fmla="*/ 0 w 3258"/>
                <a:gd name="T1" fmla="*/ 0 h 4319"/>
                <a:gd name="T2" fmla="*/ 1739 w 3258"/>
                <a:gd name="T3" fmla="*/ 0 h 4319"/>
                <a:gd name="T4" fmla="*/ 2581 w 3258"/>
                <a:gd name="T5" fmla="*/ 699 h 4319"/>
                <a:gd name="T6" fmla="*/ 3258 w 3258"/>
                <a:gd name="T7" fmla="*/ 1888 h 4319"/>
                <a:gd name="T8" fmla="*/ 2643 w 3258"/>
                <a:gd name="T9" fmla="*/ 4319 h 4319"/>
                <a:gd name="T10" fmla="*/ 0 w 3258"/>
                <a:gd name="T11" fmla="*/ 4319 h 4319"/>
                <a:gd name="T12" fmla="*/ 0 w 325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258" h="4319">
                  <a:moveTo>
                    <a:pt x="0" y="0"/>
                  </a:moveTo>
                  <a:lnTo>
                    <a:pt x="1739" y="0"/>
                  </a:lnTo>
                  <a:lnTo>
                    <a:pt x="2581" y="699"/>
                  </a:lnTo>
                  <a:lnTo>
                    <a:pt x="3258" y="1888"/>
                  </a:lnTo>
                  <a:lnTo>
                    <a:pt x="2643" y="4319"/>
                  </a:lnTo>
                  <a:lnTo>
                    <a:pt x="0" y="4319"/>
                  </a:lnTo>
                  <a:lnTo>
                    <a:pt x="0" y="0"/>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837552FA-05A2-4103-BCC0-93B9747FE4D1}"/>
                </a:ext>
              </a:extLst>
            </p:cNvPr>
            <p:cNvSpPr>
              <a:spLocks/>
            </p:cNvSpPr>
            <p:nvPr/>
          </p:nvSpPr>
          <p:spPr bwMode="auto">
            <a:xfrm>
              <a:off x="2760663" y="1588"/>
              <a:ext cx="1336675" cy="1109662"/>
            </a:xfrm>
            <a:custGeom>
              <a:avLst/>
              <a:gdLst>
                <a:gd name="T0" fmla="*/ 842 w 842"/>
                <a:gd name="T1" fmla="*/ 699 h 699"/>
                <a:gd name="T2" fmla="*/ 443 w 842"/>
                <a:gd name="T3" fmla="*/ 0 h 699"/>
                <a:gd name="T4" fmla="*/ 0 w 842"/>
                <a:gd name="T5" fmla="*/ 0 h 699"/>
                <a:gd name="T6" fmla="*/ 842 w 842"/>
                <a:gd name="T7" fmla="*/ 699 h 699"/>
              </a:gdLst>
              <a:ahLst/>
              <a:cxnLst>
                <a:cxn ang="0">
                  <a:pos x="T0" y="T1"/>
                </a:cxn>
                <a:cxn ang="0">
                  <a:pos x="T2" y="T3"/>
                </a:cxn>
                <a:cxn ang="0">
                  <a:pos x="T4" y="T5"/>
                </a:cxn>
                <a:cxn ang="0">
                  <a:pos x="T6" y="T7"/>
                </a:cxn>
              </a:cxnLst>
              <a:rect l="0" t="0" r="r" b="b"/>
              <a:pathLst>
                <a:path w="842" h="699">
                  <a:moveTo>
                    <a:pt x="842" y="699"/>
                  </a:moveTo>
                  <a:lnTo>
                    <a:pt x="443" y="0"/>
                  </a:lnTo>
                  <a:lnTo>
                    <a:pt x="0" y="0"/>
                  </a:lnTo>
                  <a:lnTo>
                    <a:pt x="842" y="699"/>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a:extLst>
                <a:ext uri="{FF2B5EF4-FFF2-40B4-BE49-F238E27FC236}">
                  <a16:creationId xmlns:a16="http://schemas.microsoft.com/office/drawing/2014/main" id="{199AF8FB-048F-4085-990F-98A0D9A7DC6B}"/>
                </a:ext>
              </a:extLst>
            </p:cNvPr>
            <p:cNvSpPr>
              <a:spLocks/>
            </p:cNvSpPr>
            <p:nvPr/>
          </p:nvSpPr>
          <p:spPr bwMode="auto">
            <a:xfrm>
              <a:off x="3449412" y="1588"/>
              <a:ext cx="1306513" cy="1670050"/>
            </a:xfrm>
            <a:custGeom>
              <a:avLst/>
              <a:gdLst>
                <a:gd name="T0" fmla="*/ 0 w 823"/>
                <a:gd name="T1" fmla="*/ 0 h 1052"/>
                <a:gd name="T2" fmla="*/ 399 w 823"/>
                <a:gd name="T3" fmla="*/ 699 h 1052"/>
                <a:gd name="T4" fmla="*/ 823 w 823"/>
                <a:gd name="T5" fmla="*/ 1052 h 1052"/>
                <a:gd name="T6" fmla="*/ 531 w 823"/>
                <a:gd name="T7" fmla="*/ 0 h 1052"/>
                <a:gd name="T8" fmla="*/ 0 w 823"/>
                <a:gd name="T9" fmla="*/ 0 h 1052"/>
              </a:gdLst>
              <a:ahLst/>
              <a:cxnLst>
                <a:cxn ang="0">
                  <a:pos x="T0" y="T1"/>
                </a:cxn>
                <a:cxn ang="0">
                  <a:pos x="T2" y="T3"/>
                </a:cxn>
                <a:cxn ang="0">
                  <a:pos x="T4" y="T5"/>
                </a:cxn>
                <a:cxn ang="0">
                  <a:pos x="T6" y="T7"/>
                </a:cxn>
                <a:cxn ang="0">
                  <a:pos x="T8" y="T9"/>
                </a:cxn>
              </a:cxnLst>
              <a:rect l="0" t="0" r="r" b="b"/>
              <a:pathLst>
                <a:path w="823" h="1052">
                  <a:moveTo>
                    <a:pt x="0" y="0"/>
                  </a:moveTo>
                  <a:lnTo>
                    <a:pt x="399" y="699"/>
                  </a:lnTo>
                  <a:lnTo>
                    <a:pt x="823" y="1052"/>
                  </a:lnTo>
                  <a:lnTo>
                    <a:pt x="531" y="0"/>
                  </a:lnTo>
                  <a:lnTo>
                    <a:pt x="0" y="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a:extLst>
                <a:ext uri="{FF2B5EF4-FFF2-40B4-BE49-F238E27FC236}">
                  <a16:creationId xmlns:a16="http://schemas.microsoft.com/office/drawing/2014/main" id="{08123B19-DB85-4E83-B8CF-342588C3E79B}"/>
                </a:ext>
              </a:extLst>
            </p:cNvPr>
            <p:cNvSpPr>
              <a:spLocks/>
            </p:cNvSpPr>
            <p:nvPr/>
          </p:nvSpPr>
          <p:spPr bwMode="auto">
            <a:xfrm>
              <a:off x="4097338" y="1111250"/>
              <a:ext cx="1009650" cy="1774825"/>
            </a:xfrm>
            <a:custGeom>
              <a:avLst/>
              <a:gdLst>
                <a:gd name="T0" fmla="*/ 424 w 636"/>
                <a:gd name="T1" fmla="*/ 353 h 1118"/>
                <a:gd name="T2" fmla="*/ 0 w 636"/>
                <a:gd name="T3" fmla="*/ 0 h 1118"/>
                <a:gd name="T4" fmla="*/ 636 w 636"/>
                <a:gd name="T5" fmla="*/ 1118 h 1118"/>
                <a:gd name="T6" fmla="*/ 424 w 636"/>
                <a:gd name="T7" fmla="*/ 353 h 1118"/>
              </a:gdLst>
              <a:ahLst/>
              <a:cxnLst>
                <a:cxn ang="0">
                  <a:pos x="T0" y="T1"/>
                </a:cxn>
                <a:cxn ang="0">
                  <a:pos x="T2" y="T3"/>
                </a:cxn>
                <a:cxn ang="0">
                  <a:pos x="T4" y="T5"/>
                </a:cxn>
                <a:cxn ang="0">
                  <a:pos x="T6" y="T7"/>
                </a:cxn>
              </a:cxnLst>
              <a:rect l="0" t="0" r="r" b="b"/>
              <a:pathLst>
                <a:path w="636" h="1118">
                  <a:moveTo>
                    <a:pt x="424" y="353"/>
                  </a:moveTo>
                  <a:lnTo>
                    <a:pt x="0" y="0"/>
                  </a:lnTo>
                  <a:lnTo>
                    <a:pt x="636" y="1118"/>
                  </a:lnTo>
                  <a:lnTo>
                    <a:pt x="424" y="353"/>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a:extLst>
                <a:ext uri="{FF2B5EF4-FFF2-40B4-BE49-F238E27FC236}">
                  <a16:creationId xmlns:a16="http://schemas.microsoft.com/office/drawing/2014/main" id="{FFDF3801-44D3-4149-82C6-85B6A716036F}"/>
                </a:ext>
              </a:extLst>
            </p:cNvPr>
            <p:cNvSpPr>
              <a:spLocks/>
            </p:cNvSpPr>
            <p:nvPr/>
          </p:nvSpPr>
          <p:spPr bwMode="auto">
            <a:xfrm>
              <a:off x="4770438" y="1671638"/>
              <a:ext cx="750888" cy="1327150"/>
            </a:xfrm>
            <a:custGeom>
              <a:avLst/>
              <a:gdLst>
                <a:gd name="T0" fmla="*/ 0 w 473"/>
                <a:gd name="T1" fmla="*/ 0 h 836"/>
                <a:gd name="T2" fmla="*/ 212 w 473"/>
                <a:gd name="T3" fmla="*/ 765 h 836"/>
                <a:gd name="T4" fmla="*/ 253 w 473"/>
                <a:gd name="T5" fmla="*/ 836 h 836"/>
                <a:gd name="T6" fmla="*/ 473 w 473"/>
                <a:gd name="T7" fmla="*/ 393 h 836"/>
                <a:gd name="T8" fmla="*/ 0 w 473"/>
                <a:gd name="T9" fmla="*/ 0 h 836"/>
              </a:gdLst>
              <a:ahLst/>
              <a:cxnLst>
                <a:cxn ang="0">
                  <a:pos x="T0" y="T1"/>
                </a:cxn>
                <a:cxn ang="0">
                  <a:pos x="T2" y="T3"/>
                </a:cxn>
                <a:cxn ang="0">
                  <a:pos x="T4" y="T5"/>
                </a:cxn>
                <a:cxn ang="0">
                  <a:pos x="T6" y="T7"/>
                </a:cxn>
                <a:cxn ang="0">
                  <a:pos x="T8" y="T9"/>
                </a:cxn>
              </a:cxnLst>
              <a:rect l="0" t="0" r="r" b="b"/>
              <a:pathLst>
                <a:path w="473" h="836">
                  <a:moveTo>
                    <a:pt x="0" y="0"/>
                  </a:moveTo>
                  <a:lnTo>
                    <a:pt x="212" y="765"/>
                  </a:lnTo>
                  <a:lnTo>
                    <a:pt x="253" y="836"/>
                  </a:lnTo>
                  <a:lnTo>
                    <a:pt x="473" y="393"/>
                  </a:lnTo>
                  <a:lnTo>
                    <a:pt x="0" y="0"/>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FCC37EF9-D366-4183-A0B0-E82D78530664}"/>
                </a:ext>
              </a:extLst>
            </p:cNvPr>
            <p:cNvSpPr>
              <a:spLocks/>
            </p:cNvSpPr>
            <p:nvPr/>
          </p:nvSpPr>
          <p:spPr bwMode="auto">
            <a:xfrm>
              <a:off x="3949701" y="3040063"/>
              <a:ext cx="1412875" cy="2417762"/>
            </a:xfrm>
            <a:custGeom>
              <a:avLst/>
              <a:gdLst>
                <a:gd name="T0" fmla="*/ 756 w 890"/>
                <a:gd name="T1" fmla="*/ 0 h 1523"/>
                <a:gd name="T2" fmla="*/ 0 w 890"/>
                <a:gd name="T3" fmla="*/ 1523 h 1523"/>
                <a:gd name="T4" fmla="*/ 890 w 890"/>
                <a:gd name="T5" fmla="*/ 477 h 1523"/>
                <a:gd name="T6" fmla="*/ 756 w 890"/>
                <a:gd name="T7" fmla="*/ 0 h 1523"/>
              </a:gdLst>
              <a:ahLst/>
              <a:cxnLst>
                <a:cxn ang="0">
                  <a:pos x="T0" y="T1"/>
                </a:cxn>
                <a:cxn ang="0">
                  <a:pos x="T2" y="T3"/>
                </a:cxn>
                <a:cxn ang="0">
                  <a:pos x="T4" y="T5"/>
                </a:cxn>
                <a:cxn ang="0">
                  <a:pos x="T6" y="T7"/>
                </a:cxn>
              </a:cxnLst>
              <a:rect l="0" t="0" r="r" b="b"/>
              <a:pathLst>
                <a:path w="890" h="1523">
                  <a:moveTo>
                    <a:pt x="756" y="0"/>
                  </a:moveTo>
                  <a:lnTo>
                    <a:pt x="0" y="1523"/>
                  </a:lnTo>
                  <a:lnTo>
                    <a:pt x="890" y="477"/>
                  </a:lnTo>
                  <a:lnTo>
                    <a:pt x="756" y="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595348F9-3222-4871-84C9-F873C5D9A435}"/>
                </a:ext>
              </a:extLst>
            </p:cNvPr>
            <p:cNvSpPr>
              <a:spLocks/>
            </p:cNvSpPr>
            <p:nvPr/>
          </p:nvSpPr>
          <p:spPr bwMode="auto">
            <a:xfrm>
              <a:off x="5139093" y="2998788"/>
              <a:ext cx="371475" cy="798512"/>
            </a:xfrm>
            <a:custGeom>
              <a:avLst/>
              <a:gdLst>
                <a:gd name="T0" fmla="*/ 0 w 234"/>
                <a:gd name="T1" fmla="*/ 26 h 503"/>
                <a:gd name="T2" fmla="*/ 134 w 234"/>
                <a:gd name="T3" fmla="*/ 503 h 503"/>
                <a:gd name="T4" fmla="*/ 234 w 234"/>
                <a:gd name="T5" fmla="*/ 386 h 503"/>
                <a:gd name="T6" fmla="*/ 14 w 234"/>
                <a:gd name="T7" fmla="*/ 0 h 503"/>
                <a:gd name="T8" fmla="*/ 0 w 234"/>
                <a:gd name="T9" fmla="*/ 26 h 503"/>
              </a:gdLst>
              <a:ahLst/>
              <a:cxnLst>
                <a:cxn ang="0">
                  <a:pos x="T0" y="T1"/>
                </a:cxn>
                <a:cxn ang="0">
                  <a:pos x="T2" y="T3"/>
                </a:cxn>
                <a:cxn ang="0">
                  <a:pos x="T4" y="T5"/>
                </a:cxn>
                <a:cxn ang="0">
                  <a:pos x="T6" y="T7"/>
                </a:cxn>
                <a:cxn ang="0">
                  <a:pos x="T8" y="T9"/>
                </a:cxn>
              </a:cxnLst>
              <a:rect l="0" t="0" r="r" b="b"/>
              <a:pathLst>
                <a:path w="234" h="503">
                  <a:moveTo>
                    <a:pt x="0" y="26"/>
                  </a:moveTo>
                  <a:lnTo>
                    <a:pt x="134" y="503"/>
                  </a:lnTo>
                  <a:lnTo>
                    <a:pt x="234" y="386"/>
                  </a:lnTo>
                  <a:lnTo>
                    <a:pt x="14" y="0"/>
                  </a:lnTo>
                  <a:lnTo>
                    <a:pt x="0" y="26"/>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2">
              <a:extLst>
                <a:ext uri="{FF2B5EF4-FFF2-40B4-BE49-F238E27FC236}">
                  <a16:creationId xmlns:a16="http://schemas.microsoft.com/office/drawing/2014/main" id="{5D7AC1E0-3162-4C74-9254-C735F2ECD223}"/>
                </a:ext>
              </a:extLst>
            </p:cNvPr>
            <p:cNvSpPr>
              <a:spLocks/>
            </p:cNvSpPr>
            <p:nvPr/>
          </p:nvSpPr>
          <p:spPr bwMode="auto">
            <a:xfrm>
              <a:off x="3254376" y="3797300"/>
              <a:ext cx="2266950" cy="3060700"/>
            </a:xfrm>
            <a:custGeom>
              <a:avLst/>
              <a:gdLst>
                <a:gd name="T0" fmla="*/ 1328 w 1428"/>
                <a:gd name="T1" fmla="*/ 0 h 1928"/>
                <a:gd name="T2" fmla="*/ 438 w 1428"/>
                <a:gd name="T3" fmla="*/ 1046 h 1928"/>
                <a:gd name="T4" fmla="*/ 0 w 1428"/>
                <a:gd name="T5" fmla="*/ 1928 h 1928"/>
                <a:gd name="T6" fmla="*/ 593 w 1428"/>
                <a:gd name="T7" fmla="*/ 1928 h 1928"/>
                <a:gd name="T8" fmla="*/ 1428 w 1428"/>
                <a:gd name="T9" fmla="*/ 363 h 1928"/>
                <a:gd name="T10" fmla="*/ 1328 w 1428"/>
                <a:gd name="T11" fmla="*/ 0 h 1928"/>
              </a:gdLst>
              <a:ahLst/>
              <a:cxnLst>
                <a:cxn ang="0">
                  <a:pos x="T0" y="T1"/>
                </a:cxn>
                <a:cxn ang="0">
                  <a:pos x="T2" y="T3"/>
                </a:cxn>
                <a:cxn ang="0">
                  <a:pos x="T4" y="T5"/>
                </a:cxn>
                <a:cxn ang="0">
                  <a:pos x="T6" y="T7"/>
                </a:cxn>
                <a:cxn ang="0">
                  <a:pos x="T8" y="T9"/>
                </a:cxn>
                <a:cxn ang="0">
                  <a:pos x="T10" y="T11"/>
                </a:cxn>
              </a:cxnLst>
              <a:rect l="0" t="0" r="r" b="b"/>
              <a:pathLst>
                <a:path w="1428" h="1928">
                  <a:moveTo>
                    <a:pt x="1328" y="0"/>
                  </a:moveTo>
                  <a:lnTo>
                    <a:pt x="438" y="1046"/>
                  </a:lnTo>
                  <a:lnTo>
                    <a:pt x="0" y="1928"/>
                  </a:lnTo>
                  <a:lnTo>
                    <a:pt x="593" y="1928"/>
                  </a:lnTo>
                  <a:lnTo>
                    <a:pt x="1428" y="363"/>
                  </a:lnTo>
                  <a:lnTo>
                    <a:pt x="1328" y="0"/>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3">
              <a:extLst>
                <a:ext uri="{FF2B5EF4-FFF2-40B4-BE49-F238E27FC236}">
                  <a16:creationId xmlns:a16="http://schemas.microsoft.com/office/drawing/2014/main" id="{B5E5F53B-2634-444A-B45A-1CE60BAFF210}"/>
                </a:ext>
              </a:extLst>
            </p:cNvPr>
            <p:cNvSpPr>
              <a:spLocks/>
            </p:cNvSpPr>
            <p:nvPr/>
          </p:nvSpPr>
          <p:spPr bwMode="auto">
            <a:xfrm>
              <a:off x="2760663" y="5457825"/>
              <a:ext cx="1189038" cy="1400175"/>
            </a:xfrm>
            <a:custGeom>
              <a:avLst/>
              <a:gdLst>
                <a:gd name="T0" fmla="*/ 311 w 749"/>
                <a:gd name="T1" fmla="*/ 882 h 882"/>
                <a:gd name="T2" fmla="*/ 749 w 749"/>
                <a:gd name="T3" fmla="*/ 0 h 882"/>
                <a:gd name="T4" fmla="*/ 0 w 749"/>
                <a:gd name="T5" fmla="*/ 882 h 882"/>
                <a:gd name="T6" fmla="*/ 311 w 749"/>
                <a:gd name="T7" fmla="*/ 882 h 882"/>
              </a:gdLst>
              <a:ahLst/>
              <a:cxnLst>
                <a:cxn ang="0">
                  <a:pos x="T0" y="T1"/>
                </a:cxn>
                <a:cxn ang="0">
                  <a:pos x="T2" y="T3"/>
                </a:cxn>
                <a:cxn ang="0">
                  <a:pos x="T4" y="T5"/>
                </a:cxn>
                <a:cxn ang="0">
                  <a:pos x="T6" y="T7"/>
                </a:cxn>
              </a:cxnLst>
              <a:rect l="0" t="0" r="r" b="b"/>
              <a:pathLst>
                <a:path w="749" h="882">
                  <a:moveTo>
                    <a:pt x="311" y="882"/>
                  </a:moveTo>
                  <a:lnTo>
                    <a:pt x="749" y="0"/>
                  </a:lnTo>
                  <a:lnTo>
                    <a:pt x="0" y="882"/>
                  </a:lnTo>
                  <a:lnTo>
                    <a:pt x="311" y="882"/>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a:extLst>
              <a:ext uri="{FF2B5EF4-FFF2-40B4-BE49-F238E27FC236}">
                <a16:creationId xmlns:a16="http://schemas.microsoft.com/office/drawing/2014/main" id="{4ED2D8F9-B666-4ACC-B595-B21F802F7D03}"/>
              </a:ext>
            </a:extLst>
          </p:cNvPr>
          <p:cNvGrpSpPr>
            <a:grpSpLocks/>
          </p:cNvGrpSpPr>
          <p:nvPr/>
        </p:nvGrpSpPr>
        <p:grpSpPr>
          <a:xfrm>
            <a:off x="6253390" y="1873690"/>
            <a:ext cx="2445002" cy="586989"/>
            <a:chOff x="4124325" y="4591050"/>
            <a:chExt cx="2479675" cy="595313"/>
          </a:xfrm>
        </p:grpSpPr>
        <p:grpSp>
          <p:nvGrpSpPr>
            <p:cNvPr id="41" name="Group 40">
              <a:extLst>
                <a:ext uri="{FF2B5EF4-FFF2-40B4-BE49-F238E27FC236}">
                  <a16:creationId xmlns:a16="http://schemas.microsoft.com/office/drawing/2014/main" id="{4D524078-6249-4B15-A7D8-3EFA8EDA0C97}"/>
                </a:ext>
              </a:extLst>
            </p:cNvPr>
            <p:cNvGrpSpPr/>
            <p:nvPr/>
          </p:nvGrpSpPr>
          <p:grpSpPr>
            <a:xfrm>
              <a:off x="4124325" y="4591050"/>
              <a:ext cx="460375" cy="595313"/>
              <a:chOff x="4124325" y="4591050"/>
              <a:chExt cx="460375" cy="595313"/>
            </a:xfrm>
          </p:grpSpPr>
          <p:sp>
            <p:nvSpPr>
              <p:cNvPr id="43" name="Freeform 25">
                <a:extLst>
                  <a:ext uri="{FF2B5EF4-FFF2-40B4-BE49-F238E27FC236}">
                    <a16:creationId xmlns:a16="http://schemas.microsoft.com/office/drawing/2014/main" id="{31F0670D-623B-43F0-8ECD-62EC33F5D22A}"/>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6">
                <a:extLst>
                  <a:ext uri="{FF2B5EF4-FFF2-40B4-BE49-F238E27FC236}">
                    <a16:creationId xmlns:a16="http://schemas.microsoft.com/office/drawing/2014/main" id="{D882C490-23CE-4A81-9663-C93095D06E88}"/>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7">
                <a:extLst>
                  <a:ext uri="{FF2B5EF4-FFF2-40B4-BE49-F238E27FC236}">
                    <a16:creationId xmlns:a16="http://schemas.microsoft.com/office/drawing/2014/main" id="{77DC2465-B8AD-48DB-BB26-8D699DFA7301}"/>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8">
                <a:extLst>
                  <a:ext uri="{FF2B5EF4-FFF2-40B4-BE49-F238E27FC236}">
                    <a16:creationId xmlns:a16="http://schemas.microsoft.com/office/drawing/2014/main" id="{9B0AF956-0F0A-4149-B756-7796EA961A62}"/>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
                <a:extLst>
                  <a:ext uri="{FF2B5EF4-FFF2-40B4-BE49-F238E27FC236}">
                    <a16:creationId xmlns:a16="http://schemas.microsoft.com/office/drawing/2014/main" id="{AB135C31-7E42-4D6E-B085-D420E917D29B}"/>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0">
                <a:extLst>
                  <a:ext uri="{FF2B5EF4-FFF2-40B4-BE49-F238E27FC236}">
                    <a16:creationId xmlns:a16="http://schemas.microsoft.com/office/drawing/2014/main" id="{DA36A413-CCAA-4F3E-A16B-B21FAE77FBF5}"/>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1">
                <a:extLst>
                  <a:ext uri="{FF2B5EF4-FFF2-40B4-BE49-F238E27FC236}">
                    <a16:creationId xmlns:a16="http://schemas.microsoft.com/office/drawing/2014/main" id="{7571954E-F14A-4362-B792-524004422E48}"/>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2">
                <a:extLst>
                  <a:ext uri="{FF2B5EF4-FFF2-40B4-BE49-F238E27FC236}">
                    <a16:creationId xmlns:a16="http://schemas.microsoft.com/office/drawing/2014/main" id="{BE350888-EF92-424F-96D0-A7D76A7344F9}"/>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3">
                <a:extLst>
                  <a:ext uri="{FF2B5EF4-FFF2-40B4-BE49-F238E27FC236}">
                    <a16:creationId xmlns:a16="http://schemas.microsoft.com/office/drawing/2014/main" id="{10C677DF-061D-4820-8229-2A35B3553A2E}"/>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Freeform 34">
              <a:extLst>
                <a:ext uri="{FF2B5EF4-FFF2-40B4-BE49-F238E27FC236}">
                  <a16:creationId xmlns:a16="http://schemas.microsoft.com/office/drawing/2014/main" id="{1BA7535D-B7A1-4B9F-916E-1D17952064D5}"/>
                </a:ext>
              </a:extLst>
            </p:cNvPr>
            <p:cNvSpPr>
              <a:spLocks noEditPoints="1"/>
            </p:cNvSpPr>
            <p:nvPr/>
          </p:nvSpPr>
          <p:spPr bwMode="auto">
            <a:xfrm>
              <a:off x="4873625" y="4746625"/>
              <a:ext cx="1730375" cy="284162"/>
            </a:xfrm>
            <a:custGeom>
              <a:avLst/>
              <a:gdLst>
                <a:gd name="T0" fmla="*/ 1399 w 1571"/>
                <a:gd name="T1" fmla="*/ 170 h 257"/>
                <a:gd name="T2" fmla="*/ 1505 w 1571"/>
                <a:gd name="T3" fmla="*/ 170 h 257"/>
                <a:gd name="T4" fmla="*/ 1471 w 1571"/>
                <a:gd name="T5" fmla="*/ 4 h 257"/>
                <a:gd name="T6" fmla="*/ 1333 w 1571"/>
                <a:gd name="T7" fmla="*/ 252 h 257"/>
                <a:gd name="T8" fmla="*/ 1390 w 1571"/>
                <a:gd name="T9" fmla="*/ 197 h 257"/>
                <a:gd name="T10" fmla="*/ 1536 w 1571"/>
                <a:gd name="T11" fmla="*/ 252 h 257"/>
                <a:gd name="T12" fmla="*/ 1208 w 1571"/>
                <a:gd name="T13" fmla="*/ 252 h 257"/>
                <a:gd name="T14" fmla="*/ 1287 w 1571"/>
                <a:gd name="T15" fmla="*/ 31 h 257"/>
                <a:gd name="T16" fmla="*/ 1098 w 1571"/>
                <a:gd name="T17" fmla="*/ 4 h 257"/>
                <a:gd name="T18" fmla="*/ 1177 w 1571"/>
                <a:gd name="T19" fmla="*/ 31 h 257"/>
                <a:gd name="T20" fmla="*/ 1208 w 1571"/>
                <a:gd name="T21" fmla="*/ 252 h 257"/>
                <a:gd name="T22" fmla="*/ 867 w 1571"/>
                <a:gd name="T23" fmla="*/ 126 h 257"/>
                <a:gd name="T24" fmla="*/ 932 w 1571"/>
                <a:gd name="T25" fmla="*/ 31 h 257"/>
                <a:gd name="T26" fmla="*/ 932 w 1571"/>
                <a:gd name="T27" fmla="*/ 126 h 257"/>
                <a:gd name="T28" fmla="*/ 950 w 1571"/>
                <a:gd name="T29" fmla="*/ 151 h 257"/>
                <a:gd name="T30" fmla="*/ 936 w 1571"/>
                <a:gd name="T31" fmla="*/ 4 h 257"/>
                <a:gd name="T32" fmla="*/ 836 w 1571"/>
                <a:gd name="T33" fmla="*/ 252 h 257"/>
                <a:gd name="T34" fmla="*/ 867 w 1571"/>
                <a:gd name="T35" fmla="*/ 154 h 257"/>
                <a:gd name="T36" fmla="*/ 980 w 1571"/>
                <a:gd name="T37" fmla="*/ 252 h 257"/>
                <a:gd name="T38" fmla="*/ 681 w 1571"/>
                <a:gd name="T39" fmla="*/ 170 h 257"/>
                <a:gd name="T40" fmla="*/ 629 w 1571"/>
                <a:gd name="T41" fmla="*/ 36 h 257"/>
                <a:gd name="T42" fmla="*/ 748 w 1571"/>
                <a:gd name="T43" fmla="*/ 252 h 257"/>
                <a:gd name="T44" fmla="*/ 609 w 1571"/>
                <a:gd name="T45" fmla="*/ 4 h 257"/>
                <a:gd name="T46" fmla="*/ 545 w 1571"/>
                <a:gd name="T47" fmla="*/ 252 h 257"/>
                <a:gd name="T48" fmla="*/ 691 w 1571"/>
                <a:gd name="T49" fmla="*/ 197 h 257"/>
                <a:gd name="T50" fmla="*/ 748 w 1571"/>
                <a:gd name="T51" fmla="*/ 252 h 257"/>
                <a:gd name="T52" fmla="*/ 320 w 1571"/>
                <a:gd name="T53" fmla="*/ 126 h 257"/>
                <a:gd name="T54" fmla="*/ 385 w 1571"/>
                <a:gd name="T55" fmla="*/ 31 h 257"/>
                <a:gd name="T56" fmla="*/ 385 w 1571"/>
                <a:gd name="T57" fmla="*/ 126 h 257"/>
                <a:gd name="T58" fmla="*/ 320 w 1571"/>
                <a:gd name="T59" fmla="*/ 154 h 257"/>
                <a:gd name="T60" fmla="*/ 467 w 1571"/>
                <a:gd name="T61" fmla="*/ 79 h 257"/>
                <a:gd name="T62" fmla="*/ 289 w 1571"/>
                <a:gd name="T63" fmla="*/ 4 h 257"/>
                <a:gd name="T64" fmla="*/ 320 w 1571"/>
                <a:gd name="T65" fmla="*/ 252 h 257"/>
                <a:gd name="T66" fmla="*/ 187 w 1571"/>
                <a:gd name="T67" fmla="*/ 184 h 257"/>
                <a:gd name="T68" fmla="*/ 91 w 1571"/>
                <a:gd name="T69" fmla="*/ 28 h 257"/>
                <a:gd name="T70" fmla="*/ 181 w 1571"/>
                <a:gd name="T71" fmla="*/ 35 h 257"/>
                <a:gd name="T72" fmla="*/ 8 w 1571"/>
                <a:gd name="T73" fmla="*/ 69 h 257"/>
                <a:gd name="T74" fmla="*/ 97 w 1571"/>
                <a:gd name="T75" fmla="*/ 229 h 257"/>
                <a:gd name="T76" fmla="*/ 0 w 1571"/>
                <a:gd name="T77" fmla="*/ 21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7">
                  <a:moveTo>
                    <a:pt x="1505" y="170"/>
                  </a:moveTo>
                  <a:cubicBezTo>
                    <a:pt x="1399" y="170"/>
                    <a:pt x="1399" y="170"/>
                    <a:pt x="1399" y="170"/>
                  </a:cubicBezTo>
                  <a:cubicBezTo>
                    <a:pt x="1452" y="36"/>
                    <a:pt x="1452" y="36"/>
                    <a:pt x="1452" y="36"/>
                  </a:cubicBezTo>
                  <a:lnTo>
                    <a:pt x="1505" y="170"/>
                  </a:lnTo>
                  <a:close/>
                  <a:moveTo>
                    <a:pt x="1571" y="252"/>
                  </a:moveTo>
                  <a:cubicBezTo>
                    <a:pt x="1471" y="4"/>
                    <a:pt x="1471" y="4"/>
                    <a:pt x="1471" y="4"/>
                  </a:cubicBezTo>
                  <a:cubicBezTo>
                    <a:pt x="1433" y="4"/>
                    <a:pt x="1433" y="4"/>
                    <a:pt x="1433" y="4"/>
                  </a:cubicBezTo>
                  <a:cubicBezTo>
                    <a:pt x="1333" y="252"/>
                    <a:pt x="1333" y="252"/>
                    <a:pt x="1333" y="252"/>
                  </a:cubicBezTo>
                  <a:cubicBezTo>
                    <a:pt x="1368" y="252"/>
                    <a:pt x="1368" y="252"/>
                    <a:pt x="1368" y="252"/>
                  </a:cubicBezTo>
                  <a:cubicBezTo>
                    <a:pt x="1390" y="197"/>
                    <a:pt x="1390" y="197"/>
                    <a:pt x="1390" y="197"/>
                  </a:cubicBezTo>
                  <a:cubicBezTo>
                    <a:pt x="1514" y="197"/>
                    <a:pt x="1514" y="197"/>
                    <a:pt x="1514" y="197"/>
                  </a:cubicBezTo>
                  <a:cubicBezTo>
                    <a:pt x="1536" y="252"/>
                    <a:pt x="1536" y="252"/>
                    <a:pt x="1536" y="252"/>
                  </a:cubicBezTo>
                  <a:lnTo>
                    <a:pt x="1571" y="252"/>
                  </a:lnTo>
                  <a:close/>
                  <a:moveTo>
                    <a:pt x="1208" y="252"/>
                  </a:moveTo>
                  <a:cubicBezTo>
                    <a:pt x="1208" y="31"/>
                    <a:pt x="1208" y="31"/>
                    <a:pt x="1208" y="31"/>
                  </a:cubicBezTo>
                  <a:cubicBezTo>
                    <a:pt x="1287" y="31"/>
                    <a:pt x="1287" y="31"/>
                    <a:pt x="1287" y="31"/>
                  </a:cubicBezTo>
                  <a:cubicBezTo>
                    <a:pt x="1287" y="4"/>
                    <a:pt x="1287" y="4"/>
                    <a:pt x="1287" y="4"/>
                  </a:cubicBezTo>
                  <a:cubicBezTo>
                    <a:pt x="1098" y="4"/>
                    <a:pt x="1098" y="4"/>
                    <a:pt x="1098" y="4"/>
                  </a:cubicBezTo>
                  <a:cubicBezTo>
                    <a:pt x="1098" y="31"/>
                    <a:pt x="1098" y="31"/>
                    <a:pt x="1098" y="31"/>
                  </a:cubicBezTo>
                  <a:cubicBezTo>
                    <a:pt x="1177" y="31"/>
                    <a:pt x="1177" y="31"/>
                    <a:pt x="1177" y="31"/>
                  </a:cubicBezTo>
                  <a:cubicBezTo>
                    <a:pt x="1177" y="252"/>
                    <a:pt x="1177" y="252"/>
                    <a:pt x="1177" y="252"/>
                  </a:cubicBezTo>
                  <a:lnTo>
                    <a:pt x="1208" y="252"/>
                  </a:lnTo>
                  <a:close/>
                  <a:moveTo>
                    <a:pt x="932" y="126"/>
                  </a:moveTo>
                  <a:cubicBezTo>
                    <a:pt x="867" y="126"/>
                    <a:pt x="867" y="126"/>
                    <a:pt x="867" y="126"/>
                  </a:cubicBezTo>
                  <a:cubicBezTo>
                    <a:pt x="867" y="31"/>
                    <a:pt x="867" y="31"/>
                    <a:pt x="867" y="31"/>
                  </a:cubicBezTo>
                  <a:cubicBezTo>
                    <a:pt x="932" y="31"/>
                    <a:pt x="932" y="31"/>
                    <a:pt x="932" y="31"/>
                  </a:cubicBezTo>
                  <a:cubicBezTo>
                    <a:pt x="962" y="31"/>
                    <a:pt x="982" y="51"/>
                    <a:pt x="982" y="79"/>
                  </a:cubicBezTo>
                  <a:cubicBezTo>
                    <a:pt x="982" y="107"/>
                    <a:pt x="962" y="126"/>
                    <a:pt x="932" y="126"/>
                  </a:cubicBezTo>
                  <a:close/>
                  <a:moveTo>
                    <a:pt x="1017" y="252"/>
                  </a:moveTo>
                  <a:cubicBezTo>
                    <a:pt x="950" y="151"/>
                    <a:pt x="950" y="151"/>
                    <a:pt x="950" y="151"/>
                  </a:cubicBezTo>
                  <a:cubicBezTo>
                    <a:pt x="984" y="148"/>
                    <a:pt x="1014" y="123"/>
                    <a:pt x="1014" y="79"/>
                  </a:cubicBezTo>
                  <a:cubicBezTo>
                    <a:pt x="1014" y="33"/>
                    <a:pt x="982" y="4"/>
                    <a:pt x="936" y="4"/>
                  </a:cubicBezTo>
                  <a:cubicBezTo>
                    <a:pt x="836" y="4"/>
                    <a:pt x="836" y="4"/>
                    <a:pt x="836" y="4"/>
                  </a:cubicBezTo>
                  <a:cubicBezTo>
                    <a:pt x="836" y="252"/>
                    <a:pt x="836" y="252"/>
                    <a:pt x="836" y="252"/>
                  </a:cubicBezTo>
                  <a:cubicBezTo>
                    <a:pt x="867" y="252"/>
                    <a:pt x="867" y="252"/>
                    <a:pt x="867" y="252"/>
                  </a:cubicBezTo>
                  <a:cubicBezTo>
                    <a:pt x="867" y="154"/>
                    <a:pt x="867" y="154"/>
                    <a:pt x="867" y="154"/>
                  </a:cubicBezTo>
                  <a:cubicBezTo>
                    <a:pt x="917" y="154"/>
                    <a:pt x="917" y="154"/>
                    <a:pt x="917" y="154"/>
                  </a:cubicBezTo>
                  <a:cubicBezTo>
                    <a:pt x="980" y="252"/>
                    <a:pt x="980" y="252"/>
                    <a:pt x="980" y="252"/>
                  </a:cubicBezTo>
                  <a:lnTo>
                    <a:pt x="1017" y="252"/>
                  </a:lnTo>
                  <a:close/>
                  <a:moveTo>
                    <a:pt x="681" y="170"/>
                  </a:moveTo>
                  <a:cubicBezTo>
                    <a:pt x="576" y="170"/>
                    <a:pt x="576" y="170"/>
                    <a:pt x="576" y="170"/>
                  </a:cubicBezTo>
                  <a:cubicBezTo>
                    <a:pt x="629" y="36"/>
                    <a:pt x="629" y="36"/>
                    <a:pt x="629" y="36"/>
                  </a:cubicBezTo>
                  <a:lnTo>
                    <a:pt x="681" y="170"/>
                  </a:lnTo>
                  <a:close/>
                  <a:moveTo>
                    <a:pt x="748" y="252"/>
                  </a:moveTo>
                  <a:cubicBezTo>
                    <a:pt x="648" y="4"/>
                    <a:pt x="648" y="4"/>
                    <a:pt x="648" y="4"/>
                  </a:cubicBezTo>
                  <a:cubicBezTo>
                    <a:pt x="609" y="4"/>
                    <a:pt x="609" y="4"/>
                    <a:pt x="609" y="4"/>
                  </a:cubicBezTo>
                  <a:cubicBezTo>
                    <a:pt x="509" y="252"/>
                    <a:pt x="509" y="252"/>
                    <a:pt x="509" y="252"/>
                  </a:cubicBezTo>
                  <a:cubicBezTo>
                    <a:pt x="545" y="252"/>
                    <a:pt x="545" y="252"/>
                    <a:pt x="545" y="252"/>
                  </a:cubicBezTo>
                  <a:cubicBezTo>
                    <a:pt x="567" y="197"/>
                    <a:pt x="567" y="197"/>
                    <a:pt x="567" y="197"/>
                  </a:cubicBezTo>
                  <a:cubicBezTo>
                    <a:pt x="691" y="197"/>
                    <a:pt x="691" y="197"/>
                    <a:pt x="691" y="197"/>
                  </a:cubicBezTo>
                  <a:cubicBezTo>
                    <a:pt x="713" y="252"/>
                    <a:pt x="713" y="252"/>
                    <a:pt x="713" y="252"/>
                  </a:cubicBezTo>
                  <a:lnTo>
                    <a:pt x="748" y="252"/>
                  </a:lnTo>
                  <a:close/>
                  <a:moveTo>
                    <a:pt x="385" y="126"/>
                  </a:moveTo>
                  <a:cubicBezTo>
                    <a:pt x="320" y="126"/>
                    <a:pt x="320" y="126"/>
                    <a:pt x="320" y="126"/>
                  </a:cubicBezTo>
                  <a:cubicBezTo>
                    <a:pt x="320" y="31"/>
                    <a:pt x="320" y="31"/>
                    <a:pt x="320" y="31"/>
                  </a:cubicBezTo>
                  <a:cubicBezTo>
                    <a:pt x="385" y="31"/>
                    <a:pt x="385" y="31"/>
                    <a:pt x="385" y="31"/>
                  </a:cubicBezTo>
                  <a:cubicBezTo>
                    <a:pt x="415" y="31"/>
                    <a:pt x="435" y="51"/>
                    <a:pt x="435" y="79"/>
                  </a:cubicBezTo>
                  <a:cubicBezTo>
                    <a:pt x="435" y="107"/>
                    <a:pt x="415" y="126"/>
                    <a:pt x="385" y="126"/>
                  </a:cubicBezTo>
                  <a:close/>
                  <a:moveTo>
                    <a:pt x="320" y="252"/>
                  </a:moveTo>
                  <a:cubicBezTo>
                    <a:pt x="320" y="154"/>
                    <a:pt x="320" y="154"/>
                    <a:pt x="320" y="154"/>
                  </a:cubicBezTo>
                  <a:cubicBezTo>
                    <a:pt x="389" y="154"/>
                    <a:pt x="389" y="154"/>
                    <a:pt x="389" y="154"/>
                  </a:cubicBezTo>
                  <a:cubicBezTo>
                    <a:pt x="438" y="154"/>
                    <a:pt x="467" y="119"/>
                    <a:pt x="467" y="79"/>
                  </a:cubicBezTo>
                  <a:cubicBezTo>
                    <a:pt x="467" y="38"/>
                    <a:pt x="439" y="4"/>
                    <a:pt x="389" y="4"/>
                  </a:cubicBezTo>
                  <a:cubicBezTo>
                    <a:pt x="289" y="4"/>
                    <a:pt x="289" y="4"/>
                    <a:pt x="289" y="4"/>
                  </a:cubicBezTo>
                  <a:cubicBezTo>
                    <a:pt x="289" y="252"/>
                    <a:pt x="289" y="252"/>
                    <a:pt x="289" y="252"/>
                  </a:cubicBezTo>
                  <a:lnTo>
                    <a:pt x="320" y="252"/>
                  </a:lnTo>
                  <a:close/>
                  <a:moveTo>
                    <a:pt x="95" y="257"/>
                  </a:moveTo>
                  <a:cubicBezTo>
                    <a:pt x="162" y="257"/>
                    <a:pt x="187" y="220"/>
                    <a:pt x="187" y="184"/>
                  </a:cubicBezTo>
                  <a:cubicBezTo>
                    <a:pt x="187" y="91"/>
                    <a:pt x="40" y="123"/>
                    <a:pt x="40" y="67"/>
                  </a:cubicBezTo>
                  <a:cubicBezTo>
                    <a:pt x="40" y="44"/>
                    <a:pt x="61" y="28"/>
                    <a:pt x="91" y="28"/>
                  </a:cubicBezTo>
                  <a:cubicBezTo>
                    <a:pt x="118" y="28"/>
                    <a:pt x="144" y="37"/>
                    <a:pt x="163" y="57"/>
                  </a:cubicBezTo>
                  <a:cubicBezTo>
                    <a:pt x="181" y="35"/>
                    <a:pt x="181" y="35"/>
                    <a:pt x="181" y="35"/>
                  </a:cubicBezTo>
                  <a:cubicBezTo>
                    <a:pt x="161" y="13"/>
                    <a:pt x="131" y="0"/>
                    <a:pt x="93" y="0"/>
                  </a:cubicBezTo>
                  <a:cubicBezTo>
                    <a:pt x="44" y="0"/>
                    <a:pt x="8" y="28"/>
                    <a:pt x="8" y="69"/>
                  </a:cubicBezTo>
                  <a:cubicBezTo>
                    <a:pt x="8" y="158"/>
                    <a:pt x="155" y="122"/>
                    <a:pt x="155" y="186"/>
                  </a:cubicBezTo>
                  <a:cubicBezTo>
                    <a:pt x="155" y="205"/>
                    <a:pt x="141" y="229"/>
                    <a:pt x="97" y="229"/>
                  </a:cubicBezTo>
                  <a:cubicBezTo>
                    <a:pt x="61" y="229"/>
                    <a:pt x="35" y="212"/>
                    <a:pt x="18" y="194"/>
                  </a:cubicBezTo>
                  <a:cubicBezTo>
                    <a:pt x="0" y="217"/>
                    <a:pt x="0" y="217"/>
                    <a:pt x="0" y="217"/>
                  </a:cubicBezTo>
                  <a:cubicBezTo>
                    <a:pt x="20" y="240"/>
                    <a:pt x="52" y="257"/>
                    <a:pt x="95" y="2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52">
            <a:extLst>
              <a:ext uri="{FF2B5EF4-FFF2-40B4-BE49-F238E27FC236}">
                <a16:creationId xmlns:a16="http://schemas.microsoft.com/office/drawing/2014/main" id="{5B3A0309-2975-4C93-9F97-3985D03965BB}"/>
              </a:ext>
            </a:extLst>
          </p:cNvPr>
          <p:cNvGrpSpPr/>
          <p:nvPr userDrawn="1"/>
        </p:nvGrpSpPr>
        <p:grpSpPr>
          <a:xfrm>
            <a:off x="1" y="1588"/>
            <a:ext cx="5521325" cy="6856412"/>
            <a:chOff x="1" y="1588"/>
            <a:chExt cx="5521325" cy="6856412"/>
          </a:xfrm>
        </p:grpSpPr>
        <p:sp>
          <p:nvSpPr>
            <p:cNvPr id="54" name="Freeform 5">
              <a:extLst>
                <a:ext uri="{FF2B5EF4-FFF2-40B4-BE49-F238E27FC236}">
                  <a16:creationId xmlns:a16="http://schemas.microsoft.com/office/drawing/2014/main" id="{D3E8E4A8-D9C9-4933-BB4C-73430027D1AB}"/>
                </a:ext>
              </a:extLst>
            </p:cNvPr>
            <p:cNvSpPr>
              <a:spLocks/>
            </p:cNvSpPr>
            <p:nvPr/>
          </p:nvSpPr>
          <p:spPr bwMode="auto">
            <a:xfrm>
              <a:off x="1" y="1588"/>
              <a:ext cx="5172075" cy="6856412"/>
            </a:xfrm>
            <a:custGeom>
              <a:avLst/>
              <a:gdLst>
                <a:gd name="T0" fmla="*/ 0 w 3258"/>
                <a:gd name="T1" fmla="*/ 0 h 4319"/>
                <a:gd name="T2" fmla="*/ 1739 w 3258"/>
                <a:gd name="T3" fmla="*/ 0 h 4319"/>
                <a:gd name="T4" fmla="*/ 2581 w 3258"/>
                <a:gd name="T5" fmla="*/ 699 h 4319"/>
                <a:gd name="T6" fmla="*/ 3258 w 3258"/>
                <a:gd name="T7" fmla="*/ 1888 h 4319"/>
                <a:gd name="T8" fmla="*/ 2643 w 3258"/>
                <a:gd name="T9" fmla="*/ 4319 h 4319"/>
                <a:gd name="T10" fmla="*/ 0 w 3258"/>
                <a:gd name="T11" fmla="*/ 4319 h 4319"/>
                <a:gd name="T12" fmla="*/ 0 w 325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258" h="4319">
                  <a:moveTo>
                    <a:pt x="0" y="0"/>
                  </a:moveTo>
                  <a:lnTo>
                    <a:pt x="1739" y="0"/>
                  </a:lnTo>
                  <a:lnTo>
                    <a:pt x="2581" y="699"/>
                  </a:lnTo>
                  <a:lnTo>
                    <a:pt x="3258" y="1888"/>
                  </a:lnTo>
                  <a:lnTo>
                    <a:pt x="2643" y="4319"/>
                  </a:lnTo>
                  <a:lnTo>
                    <a:pt x="0" y="4319"/>
                  </a:lnTo>
                  <a:lnTo>
                    <a:pt x="0" y="0"/>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
              <a:extLst>
                <a:ext uri="{FF2B5EF4-FFF2-40B4-BE49-F238E27FC236}">
                  <a16:creationId xmlns:a16="http://schemas.microsoft.com/office/drawing/2014/main" id="{538E82DF-9AD5-4263-B7E8-A914AF38EB4D}"/>
                </a:ext>
              </a:extLst>
            </p:cNvPr>
            <p:cNvSpPr>
              <a:spLocks/>
            </p:cNvSpPr>
            <p:nvPr/>
          </p:nvSpPr>
          <p:spPr bwMode="auto">
            <a:xfrm>
              <a:off x="2760663" y="1588"/>
              <a:ext cx="1336675" cy="1109662"/>
            </a:xfrm>
            <a:custGeom>
              <a:avLst/>
              <a:gdLst>
                <a:gd name="T0" fmla="*/ 842 w 842"/>
                <a:gd name="T1" fmla="*/ 699 h 699"/>
                <a:gd name="T2" fmla="*/ 443 w 842"/>
                <a:gd name="T3" fmla="*/ 0 h 699"/>
                <a:gd name="T4" fmla="*/ 0 w 842"/>
                <a:gd name="T5" fmla="*/ 0 h 699"/>
                <a:gd name="T6" fmla="*/ 842 w 842"/>
                <a:gd name="T7" fmla="*/ 699 h 699"/>
              </a:gdLst>
              <a:ahLst/>
              <a:cxnLst>
                <a:cxn ang="0">
                  <a:pos x="T0" y="T1"/>
                </a:cxn>
                <a:cxn ang="0">
                  <a:pos x="T2" y="T3"/>
                </a:cxn>
                <a:cxn ang="0">
                  <a:pos x="T4" y="T5"/>
                </a:cxn>
                <a:cxn ang="0">
                  <a:pos x="T6" y="T7"/>
                </a:cxn>
              </a:cxnLst>
              <a:rect l="0" t="0" r="r" b="b"/>
              <a:pathLst>
                <a:path w="842" h="699">
                  <a:moveTo>
                    <a:pt x="842" y="699"/>
                  </a:moveTo>
                  <a:lnTo>
                    <a:pt x="443" y="0"/>
                  </a:lnTo>
                  <a:lnTo>
                    <a:pt x="0" y="0"/>
                  </a:lnTo>
                  <a:lnTo>
                    <a:pt x="842" y="699"/>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
              <a:extLst>
                <a:ext uri="{FF2B5EF4-FFF2-40B4-BE49-F238E27FC236}">
                  <a16:creationId xmlns:a16="http://schemas.microsoft.com/office/drawing/2014/main" id="{A238FDA5-CB9D-46CB-96F5-9EF266BD4E8F}"/>
                </a:ext>
              </a:extLst>
            </p:cNvPr>
            <p:cNvSpPr>
              <a:spLocks/>
            </p:cNvSpPr>
            <p:nvPr/>
          </p:nvSpPr>
          <p:spPr bwMode="auto">
            <a:xfrm>
              <a:off x="3449412" y="1588"/>
              <a:ext cx="1306513" cy="1670050"/>
            </a:xfrm>
            <a:custGeom>
              <a:avLst/>
              <a:gdLst>
                <a:gd name="T0" fmla="*/ 0 w 823"/>
                <a:gd name="T1" fmla="*/ 0 h 1052"/>
                <a:gd name="T2" fmla="*/ 399 w 823"/>
                <a:gd name="T3" fmla="*/ 699 h 1052"/>
                <a:gd name="T4" fmla="*/ 823 w 823"/>
                <a:gd name="T5" fmla="*/ 1052 h 1052"/>
                <a:gd name="T6" fmla="*/ 531 w 823"/>
                <a:gd name="T7" fmla="*/ 0 h 1052"/>
                <a:gd name="T8" fmla="*/ 0 w 823"/>
                <a:gd name="T9" fmla="*/ 0 h 1052"/>
              </a:gdLst>
              <a:ahLst/>
              <a:cxnLst>
                <a:cxn ang="0">
                  <a:pos x="T0" y="T1"/>
                </a:cxn>
                <a:cxn ang="0">
                  <a:pos x="T2" y="T3"/>
                </a:cxn>
                <a:cxn ang="0">
                  <a:pos x="T4" y="T5"/>
                </a:cxn>
                <a:cxn ang="0">
                  <a:pos x="T6" y="T7"/>
                </a:cxn>
                <a:cxn ang="0">
                  <a:pos x="T8" y="T9"/>
                </a:cxn>
              </a:cxnLst>
              <a:rect l="0" t="0" r="r" b="b"/>
              <a:pathLst>
                <a:path w="823" h="1052">
                  <a:moveTo>
                    <a:pt x="0" y="0"/>
                  </a:moveTo>
                  <a:lnTo>
                    <a:pt x="399" y="699"/>
                  </a:lnTo>
                  <a:lnTo>
                    <a:pt x="823" y="1052"/>
                  </a:lnTo>
                  <a:lnTo>
                    <a:pt x="531" y="0"/>
                  </a:lnTo>
                  <a:lnTo>
                    <a:pt x="0" y="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8">
              <a:extLst>
                <a:ext uri="{FF2B5EF4-FFF2-40B4-BE49-F238E27FC236}">
                  <a16:creationId xmlns:a16="http://schemas.microsoft.com/office/drawing/2014/main" id="{0DA1ACCF-469A-4B7F-A862-D690C90715AE}"/>
                </a:ext>
              </a:extLst>
            </p:cNvPr>
            <p:cNvSpPr>
              <a:spLocks/>
            </p:cNvSpPr>
            <p:nvPr/>
          </p:nvSpPr>
          <p:spPr bwMode="auto">
            <a:xfrm>
              <a:off x="4097338" y="1111250"/>
              <a:ext cx="1009650" cy="1774825"/>
            </a:xfrm>
            <a:custGeom>
              <a:avLst/>
              <a:gdLst>
                <a:gd name="T0" fmla="*/ 424 w 636"/>
                <a:gd name="T1" fmla="*/ 353 h 1118"/>
                <a:gd name="T2" fmla="*/ 0 w 636"/>
                <a:gd name="T3" fmla="*/ 0 h 1118"/>
                <a:gd name="T4" fmla="*/ 636 w 636"/>
                <a:gd name="T5" fmla="*/ 1118 h 1118"/>
                <a:gd name="T6" fmla="*/ 424 w 636"/>
                <a:gd name="T7" fmla="*/ 353 h 1118"/>
              </a:gdLst>
              <a:ahLst/>
              <a:cxnLst>
                <a:cxn ang="0">
                  <a:pos x="T0" y="T1"/>
                </a:cxn>
                <a:cxn ang="0">
                  <a:pos x="T2" y="T3"/>
                </a:cxn>
                <a:cxn ang="0">
                  <a:pos x="T4" y="T5"/>
                </a:cxn>
                <a:cxn ang="0">
                  <a:pos x="T6" y="T7"/>
                </a:cxn>
              </a:cxnLst>
              <a:rect l="0" t="0" r="r" b="b"/>
              <a:pathLst>
                <a:path w="636" h="1118">
                  <a:moveTo>
                    <a:pt x="424" y="353"/>
                  </a:moveTo>
                  <a:lnTo>
                    <a:pt x="0" y="0"/>
                  </a:lnTo>
                  <a:lnTo>
                    <a:pt x="636" y="1118"/>
                  </a:lnTo>
                  <a:lnTo>
                    <a:pt x="424" y="353"/>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9">
              <a:extLst>
                <a:ext uri="{FF2B5EF4-FFF2-40B4-BE49-F238E27FC236}">
                  <a16:creationId xmlns:a16="http://schemas.microsoft.com/office/drawing/2014/main" id="{4C7A0D88-1167-4897-B138-B6B7CDB1EA2B}"/>
                </a:ext>
              </a:extLst>
            </p:cNvPr>
            <p:cNvSpPr>
              <a:spLocks/>
            </p:cNvSpPr>
            <p:nvPr/>
          </p:nvSpPr>
          <p:spPr bwMode="auto">
            <a:xfrm>
              <a:off x="4770438" y="1671638"/>
              <a:ext cx="750888" cy="1327150"/>
            </a:xfrm>
            <a:custGeom>
              <a:avLst/>
              <a:gdLst>
                <a:gd name="T0" fmla="*/ 0 w 473"/>
                <a:gd name="T1" fmla="*/ 0 h 836"/>
                <a:gd name="T2" fmla="*/ 212 w 473"/>
                <a:gd name="T3" fmla="*/ 765 h 836"/>
                <a:gd name="T4" fmla="*/ 253 w 473"/>
                <a:gd name="T5" fmla="*/ 836 h 836"/>
                <a:gd name="T6" fmla="*/ 473 w 473"/>
                <a:gd name="T7" fmla="*/ 393 h 836"/>
                <a:gd name="T8" fmla="*/ 0 w 473"/>
                <a:gd name="T9" fmla="*/ 0 h 836"/>
              </a:gdLst>
              <a:ahLst/>
              <a:cxnLst>
                <a:cxn ang="0">
                  <a:pos x="T0" y="T1"/>
                </a:cxn>
                <a:cxn ang="0">
                  <a:pos x="T2" y="T3"/>
                </a:cxn>
                <a:cxn ang="0">
                  <a:pos x="T4" y="T5"/>
                </a:cxn>
                <a:cxn ang="0">
                  <a:pos x="T6" y="T7"/>
                </a:cxn>
                <a:cxn ang="0">
                  <a:pos x="T8" y="T9"/>
                </a:cxn>
              </a:cxnLst>
              <a:rect l="0" t="0" r="r" b="b"/>
              <a:pathLst>
                <a:path w="473" h="836">
                  <a:moveTo>
                    <a:pt x="0" y="0"/>
                  </a:moveTo>
                  <a:lnTo>
                    <a:pt x="212" y="765"/>
                  </a:lnTo>
                  <a:lnTo>
                    <a:pt x="253" y="836"/>
                  </a:lnTo>
                  <a:lnTo>
                    <a:pt x="473" y="393"/>
                  </a:lnTo>
                  <a:lnTo>
                    <a:pt x="0" y="0"/>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0">
              <a:extLst>
                <a:ext uri="{FF2B5EF4-FFF2-40B4-BE49-F238E27FC236}">
                  <a16:creationId xmlns:a16="http://schemas.microsoft.com/office/drawing/2014/main" id="{5F3C4916-2505-414E-8842-4350AC6FF9A4}"/>
                </a:ext>
              </a:extLst>
            </p:cNvPr>
            <p:cNvSpPr>
              <a:spLocks/>
            </p:cNvSpPr>
            <p:nvPr/>
          </p:nvSpPr>
          <p:spPr bwMode="auto">
            <a:xfrm>
              <a:off x="3949701" y="3040063"/>
              <a:ext cx="1412875" cy="2417762"/>
            </a:xfrm>
            <a:custGeom>
              <a:avLst/>
              <a:gdLst>
                <a:gd name="T0" fmla="*/ 756 w 890"/>
                <a:gd name="T1" fmla="*/ 0 h 1523"/>
                <a:gd name="T2" fmla="*/ 0 w 890"/>
                <a:gd name="T3" fmla="*/ 1523 h 1523"/>
                <a:gd name="T4" fmla="*/ 890 w 890"/>
                <a:gd name="T5" fmla="*/ 477 h 1523"/>
                <a:gd name="T6" fmla="*/ 756 w 890"/>
                <a:gd name="T7" fmla="*/ 0 h 1523"/>
              </a:gdLst>
              <a:ahLst/>
              <a:cxnLst>
                <a:cxn ang="0">
                  <a:pos x="T0" y="T1"/>
                </a:cxn>
                <a:cxn ang="0">
                  <a:pos x="T2" y="T3"/>
                </a:cxn>
                <a:cxn ang="0">
                  <a:pos x="T4" y="T5"/>
                </a:cxn>
                <a:cxn ang="0">
                  <a:pos x="T6" y="T7"/>
                </a:cxn>
              </a:cxnLst>
              <a:rect l="0" t="0" r="r" b="b"/>
              <a:pathLst>
                <a:path w="890" h="1523">
                  <a:moveTo>
                    <a:pt x="756" y="0"/>
                  </a:moveTo>
                  <a:lnTo>
                    <a:pt x="0" y="1523"/>
                  </a:lnTo>
                  <a:lnTo>
                    <a:pt x="890" y="477"/>
                  </a:lnTo>
                  <a:lnTo>
                    <a:pt x="756" y="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1">
              <a:extLst>
                <a:ext uri="{FF2B5EF4-FFF2-40B4-BE49-F238E27FC236}">
                  <a16:creationId xmlns:a16="http://schemas.microsoft.com/office/drawing/2014/main" id="{50FD003D-E551-42A8-9CE2-B16BE0E214CC}"/>
                </a:ext>
              </a:extLst>
            </p:cNvPr>
            <p:cNvSpPr>
              <a:spLocks/>
            </p:cNvSpPr>
            <p:nvPr/>
          </p:nvSpPr>
          <p:spPr bwMode="auto">
            <a:xfrm>
              <a:off x="5139093" y="2998788"/>
              <a:ext cx="371475" cy="798512"/>
            </a:xfrm>
            <a:custGeom>
              <a:avLst/>
              <a:gdLst>
                <a:gd name="T0" fmla="*/ 0 w 234"/>
                <a:gd name="T1" fmla="*/ 26 h 503"/>
                <a:gd name="T2" fmla="*/ 134 w 234"/>
                <a:gd name="T3" fmla="*/ 503 h 503"/>
                <a:gd name="T4" fmla="*/ 234 w 234"/>
                <a:gd name="T5" fmla="*/ 386 h 503"/>
                <a:gd name="T6" fmla="*/ 14 w 234"/>
                <a:gd name="T7" fmla="*/ 0 h 503"/>
                <a:gd name="T8" fmla="*/ 0 w 234"/>
                <a:gd name="T9" fmla="*/ 26 h 503"/>
              </a:gdLst>
              <a:ahLst/>
              <a:cxnLst>
                <a:cxn ang="0">
                  <a:pos x="T0" y="T1"/>
                </a:cxn>
                <a:cxn ang="0">
                  <a:pos x="T2" y="T3"/>
                </a:cxn>
                <a:cxn ang="0">
                  <a:pos x="T4" y="T5"/>
                </a:cxn>
                <a:cxn ang="0">
                  <a:pos x="T6" y="T7"/>
                </a:cxn>
                <a:cxn ang="0">
                  <a:pos x="T8" y="T9"/>
                </a:cxn>
              </a:cxnLst>
              <a:rect l="0" t="0" r="r" b="b"/>
              <a:pathLst>
                <a:path w="234" h="503">
                  <a:moveTo>
                    <a:pt x="0" y="26"/>
                  </a:moveTo>
                  <a:lnTo>
                    <a:pt x="134" y="503"/>
                  </a:lnTo>
                  <a:lnTo>
                    <a:pt x="234" y="386"/>
                  </a:lnTo>
                  <a:lnTo>
                    <a:pt x="14" y="0"/>
                  </a:lnTo>
                  <a:lnTo>
                    <a:pt x="0" y="26"/>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2">
              <a:extLst>
                <a:ext uri="{FF2B5EF4-FFF2-40B4-BE49-F238E27FC236}">
                  <a16:creationId xmlns:a16="http://schemas.microsoft.com/office/drawing/2014/main" id="{9205ADD0-59C2-4956-9534-5A3ACEF38902}"/>
                </a:ext>
              </a:extLst>
            </p:cNvPr>
            <p:cNvSpPr>
              <a:spLocks/>
            </p:cNvSpPr>
            <p:nvPr/>
          </p:nvSpPr>
          <p:spPr bwMode="auto">
            <a:xfrm>
              <a:off x="3254376" y="3797300"/>
              <a:ext cx="2266950" cy="3060700"/>
            </a:xfrm>
            <a:custGeom>
              <a:avLst/>
              <a:gdLst>
                <a:gd name="T0" fmla="*/ 1328 w 1428"/>
                <a:gd name="T1" fmla="*/ 0 h 1928"/>
                <a:gd name="T2" fmla="*/ 438 w 1428"/>
                <a:gd name="T3" fmla="*/ 1046 h 1928"/>
                <a:gd name="T4" fmla="*/ 0 w 1428"/>
                <a:gd name="T5" fmla="*/ 1928 h 1928"/>
                <a:gd name="T6" fmla="*/ 593 w 1428"/>
                <a:gd name="T7" fmla="*/ 1928 h 1928"/>
                <a:gd name="T8" fmla="*/ 1428 w 1428"/>
                <a:gd name="T9" fmla="*/ 363 h 1928"/>
                <a:gd name="T10" fmla="*/ 1328 w 1428"/>
                <a:gd name="T11" fmla="*/ 0 h 1928"/>
              </a:gdLst>
              <a:ahLst/>
              <a:cxnLst>
                <a:cxn ang="0">
                  <a:pos x="T0" y="T1"/>
                </a:cxn>
                <a:cxn ang="0">
                  <a:pos x="T2" y="T3"/>
                </a:cxn>
                <a:cxn ang="0">
                  <a:pos x="T4" y="T5"/>
                </a:cxn>
                <a:cxn ang="0">
                  <a:pos x="T6" y="T7"/>
                </a:cxn>
                <a:cxn ang="0">
                  <a:pos x="T8" y="T9"/>
                </a:cxn>
                <a:cxn ang="0">
                  <a:pos x="T10" y="T11"/>
                </a:cxn>
              </a:cxnLst>
              <a:rect l="0" t="0" r="r" b="b"/>
              <a:pathLst>
                <a:path w="1428" h="1928">
                  <a:moveTo>
                    <a:pt x="1328" y="0"/>
                  </a:moveTo>
                  <a:lnTo>
                    <a:pt x="438" y="1046"/>
                  </a:lnTo>
                  <a:lnTo>
                    <a:pt x="0" y="1928"/>
                  </a:lnTo>
                  <a:lnTo>
                    <a:pt x="593" y="1928"/>
                  </a:lnTo>
                  <a:lnTo>
                    <a:pt x="1428" y="363"/>
                  </a:lnTo>
                  <a:lnTo>
                    <a:pt x="1328" y="0"/>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3">
              <a:extLst>
                <a:ext uri="{FF2B5EF4-FFF2-40B4-BE49-F238E27FC236}">
                  <a16:creationId xmlns:a16="http://schemas.microsoft.com/office/drawing/2014/main" id="{E827900F-125D-4EED-89E7-35EF03F8F2B6}"/>
                </a:ext>
              </a:extLst>
            </p:cNvPr>
            <p:cNvSpPr>
              <a:spLocks/>
            </p:cNvSpPr>
            <p:nvPr/>
          </p:nvSpPr>
          <p:spPr bwMode="auto">
            <a:xfrm>
              <a:off x="2760663" y="5457825"/>
              <a:ext cx="1189038" cy="1400175"/>
            </a:xfrm>
            <a:custGeom>
              <a:avLst/>
              <a:gdLst>
                <a:gd name="T0" fmla="*/ 311 w 749"/>
                <a:gd name="T1" fmla="*/ 882 h 882"/>
                <a:gd name="T2" fmla="*/ 749 w 749"/>
                <a:gd name="T3" fmla="*/ 0 h 882"/>
                <a:gd name="T4" fmla="*/ 0 w 749"/>
                <a:gd name="T5" fmla="*/ 882 h 882"/>
                <a:gd name="T6" fmla="*/ 311 w 749"/>
                <a:gd name="T7" fmla="*/ 882 h 882"/>
              </a:gdLst>
              <a:ahLst/>
              <a:cxnLst>
                <a:cxn ang="0">
                  <a:pos x="T0" y="T1"/>
                </a:cxn>
                <a:cxn ang="0">
                  <a:pos x="T2" y="T3"/>
                </a:cxn>
                <a:cxn ang="0">
                  <a:pos x="T4" y="T5"/>
                </a:cxn>
                <a:cxn ang="0">
                  <a:pos x="T6" y="T7"/>
                </a:cxn>
              </a:cxnLst>
              <a:rect l="0" t="0" r="r" b="b"/>
              <a:pathLst>
                <a:path w="749" h="882">
                  <a:moveTo>
                    <a:pt x="311" y="882"/>
                  </a:moveTo>
                  <a:lnTo>
                    <a:pt x="749" y="0"/>
                  </a:lnTo>
                  <a:lnTo>
                    <a:pt x="0" y="882"/>
                  </a:lnTo>
                  <a:lnTo>
                    <a:pt x="311" y="882"/>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 62">
            <a:extLst>
              <a:ext uri="{FF2B5EF4-FFF2-40B4-BE49-F238E27FC236}">
                <a16:creationId xmlns:a16="http://schemas.microsoft.com/office/drawing/2014/main" id="{3C164691-80AE-4334-9DDE-FD0C29748728}"/>
              </a:ext>
            </a:extLst>
          </p:cNvPr>
          <p:cNvGrpSpPr>
            <a:grpSpLocks/>
          </p:cNvGrpSpPr>
          <p:nvPr userDrawn="1"/>
        </p:nvGrpSpPr>
        <p:grpSpPr>
          <a:xfrm>
            <a:off x="6253390" y="1873690"/>
            <a:ext cx="2445002" cy="586989"/>
            <a:chOff x="4124325" y="4591050"/>
            <a:chExt cx="2479675" cy="595313"/>
          </a:xfrm>
        </p:grpSpPr>
        <p:grpSp>
          <p:nvGrpSpPr>
            <p:cNvPr id="64" name="Group 63">
              <a:extLst>
                <a:ext uri="{FF2B5EF4-FFF2-40B4-BE49-F238E27FC236}">
                  <a16:creationId xmlns:a16="http://schemas.microsoft.com/office/drawing/2014/main" id="{F242D30B-BBDC-4381-8E91-1F9A1BF93DD2}"/>
                </a:ext>
              </a:extLst>
            </p:cNvPr>
            <p:cNvGrpSpPr/>
            <p:nvPr/>
          </p:nvGrpSpPr>
          <p:grpSpPr>
            <a:xfrm>
              <a:off x="4124325" y="4591050"/>
              <a:ext cx="460375" cy="595313"/>
              <a:chOff x="4124325" y="4591050"/>
              <a:chExt cx="460375" cy="595313"/>
            </a:xfrm>
          </p:grpSpPr>
          <p:sp>
            <p:nvSpPr>
              <p:cNvPr id="66" name="Freeform 25">
                <a:extLst>
                  <a:ext uri="{FF2B5EF4-FFF2-40B4-BE49-F238E27FC236}">
                    <a16:creationId xmlns:a16="http://schemas.microsoft.com/office/drawing/2014/main" id="{9CBD06A3-B27E-4B45-A634-CF31A1889828}"/>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
                <a:extLst>
                  <a:ext uri="{FF2B5EF4-FFF2-40B4-BE49-F238E27FC236}">
                    <a16:creationId xmlns:a16="http://schemas.microsoft.com/office/drawing/2014/main" id="{41B8CC5A-8F1B-4692-9AA7-260A6D66B0A3}"/>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7">
                <a:extLst>
                  <a:ext uri="{FF2B5EF4-FFF2-40B4-BE49-F238E27FC236}">
                    <a16:creationId xmlns:a16="http://schemas.microsoft.com/office/drawing/2014/main" id="{D4F1B01B-0742-4918-977E-D943C601880D}"/>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8">
                <a:extLst>
                  <a:ext uri="{FF2B5EF4-FFF2-40B4-BE49-F238E27FC236}">
                    <a16:creationId xmlns:a16="http://schemas.microsoft.com/office/drawing/2014/main" id="{CB00117D-0773-4E5C-BE8E-BE9537615567}"/>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9">
                <a:extLst>
                  <a:ext uri="{FF2B5EF4-FFF2-40B4-BE49-F238E27FC236}">
                    <a16:creationId xmlns:a16="http://schemas.microsoft.com/office/drawing/2014/main" id="{BC663994-1881-4026-A387-3342D9BFF4B7}"/>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0">
                <a:extLst>
                  <a:ext uri="{FF2B5EF4-FFF2-40B4-BE49-F238E27FC236}">
                    <a16:creationId xmlns:a16="http://schemas.microsoft.com/office/drawing/2014/main" id="{FFB83203-93C1-4B28-A674-7F72F5F85318}"/>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1">
                <a:extLst>
                  <a:ext uri="{FF2B5EF4-FFF2-40B4-BE49-F238E27FC236}">
                    <a16:creationId xmlns:a16="http://schemas.microsoft.com/office/drawing/2014/main" id="{E653DA8B-8D08-45A4-91DE-B443FBA70395}"/>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2">
                <a:extLst>
                  <a:ext uri="{FF2B5EF4-FFF2-40B4-BE49-F238E27FC236}">
                    <a16:creationId xmlns:a16="http://schemas.microsoft.com/office/drawing/2014/main" id="{F72A3AB5-B6D6-4143-9B78-1424B0795557}"/>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3">
                <a:extLst>
                  <a:ext uri="{FF2B5EF4-FFF2-40B4-BE49-F238E27FC236}">
                    <a16:creationId xmlns:a16="http://schemas.microsoft.com/office/drawing/2014/main" id="{2C3B187D-A2DD-4A8F-81C9-EF3B23C4027E}"/>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 name="Freeform 34">
              <a:extLst>
                <a:ext uri="{FF2B5EF4-FFF2-40B4-BE49-F238E27FC236}">
                  <a16:creationId xmlns:a16="http://schemas.microsoft.com/office/drawing/2014/main" id="{CC39647A-1EF7-44B7-B1F0-F5CF9359BC18}"/>
                </a:ext>
              </a:extLst>
            </p:cNvPr>
            <p:cNvSpPr>
              <a:spLocks noEditPoints="1"/>
            </p:cNvSpPr>
            <p:nvPr/>
          </p:nvSpPr>
          <p:spPr bwMode="auto">
            <a:xfrm>
              <a:off x="4873625" y="4746625"/>
              <a:ext cx="1730375" cy="284162"/>
            </a:xfrm>
            <a:custGeom>
              <a:avLst/>
              <a:gdLst>
                <a:gd name="T0" fmla="*/ 1399 w 1571"/>
                <a:gd name="T1" fmla="*/ 170 h 257"/>
                <a:gd name="T2" fmla="*/ 1505 w 1571"/>
                <a:gd name="T3" fmla="*/ 170 h 257"/>
                <a:gd name="T4" fmla="*/ 1471 w 1571"/>
                <a:gd name="T5" fmla="*/ 4 h 257"/>
                <a:gd name="T6" fmla="*/ 1333 w 1571"/>
                <a:gd name="T7" fmla="*/ 252 h 257"/>
                <a:gd name="T8" fmla="*/ 1390 w 1571"/>
                <a:gd name="T9" fmla="*/ 197 h 257"/>
                <a:gd name="T10" fmla="*/ 1536 w 1571"/>
                <a:gd name="T11" fmla="*/ 252 h 257"/>
                <a:gd name="T12" fmla="*/ 1208 w 1571"/>
                <a:gd name="T13" fmla="*/ 252 h 257"/>
                <a:gd name="T14" fmla="*/ 1287 w 1571"/>
                <a:gd name="T15" fmla="*/ 31 h 257"/>
                <a:gd name="T16" fmla="*/ 1098 w 1571"/>
                <a:gd name="T17" fmla="*/ 4 h 257"/>
                <a:gd name="T18" fmla="*/ 1177 w 1571"/>
                <a:gd name="T19" fmla="*/ 31 h 257"/>
                <a:gd name="T20" fmla="*/ 1208 w 1571"/>
                <a:gd name="T21" fmla="*/ 252 h 257"/>
                <a:gd name="T22" fmla="*/ 867 w 1571"/>
                <a:gd name="T23" fmla="*/ 126 h 257"/>
                <a:gd name="T24" fmla="*/ 932 w 1571"/>
                <a:gd name="T25" fmla="*/ 31 h 257"/>
                <a:gd name="T26" fmla="*/ 932 w 1571"/>
                <a:gd name="T27" fmla="*/ 126 h 257"/>
                <a:gd name="T28" fmla="*/ 950 w 1571"/>
                <a:gd name="T29" fmla="*/ 151 h 257"/>
                <a:gd name="T30" fmla="*/ 936 w 1571"/>
                <a:gd name="T31" fmla="*/ 4 h 257"/>
                <a:gd name="T32" fmla="*/ 836 w 1571"/>
                <a:gd name="T33" fmla="*/ 252 h 257"/>
                <a:gd name="T34" fmla="*/ 867 w 1571"/>
                <a:gd name="T35" fmla="*/ 154 h 257"/>
                <a:gd name="T36" fmla="*/ 980 w 1571"/>
                <a:gd name="T37" fmla="*/ 252 h 257"/>
                <a:gd name="T38" fmla="*/ 681 w 1571"/>
                <a:gd name="T39" fmla="*/ 170 h 257"/>
                <a:gd name="T40" fmla="*/ 629 w 1571"/>
                <a:gd name="T41" fmla="*/ 36 h 257"/>
                <a:gd name="T42" fmla="*/ 748 w 1571"/>
                <a:gd name="T43" fmla="*/ 252 h 257"/>
                <a:gd name="T44" fmla="*/ 609 w 1571"/>
                <a:gd name="T45" fmla="*/ 4 h 257"/>
                <a:gd name="T46" fmla="*/ 545 w 1571"/>
                <a:gd name="T47" fmla="*/ 252 h 257"/>
                <a:gd name="T48" fmla="*/ 691 w 1571"/>
                <a:gd name="T49" fmla="*/ 197 h 257"/>
                <a:gd name="T50" fmla="*/ 748 w 1571"/>
                <a:gd name="T51" fmla="*/ 252 h 257"/>
                <a:gd name="T52" fmla="*/ 320 w 1571"/>
                <a:gd name="T53" fmla="*/ 126 h 257"/>
                <a:gd name="T54" fmla="*/ 385 w 1571"/>
                <a:gd name="T55" fmla="*/ 31 h 257"/>
                <a:gd name="T56" fmla="*/ 385 w 1571"/>
                <a:gd name="T57" fmla="*/ 126 h 257"/>
                <a:gd name="T58" fmla="*/ 320 w 1571"/>
                <a:gd name="T59" fmla="*/ 154 h 257"/>
                <a:gd name="T60" fmla="*/ 467 w 1571"/>
                <a:gd name="T61" fmla="*/ 79 h 257"/>
                <a:gd name="T62" fmla="*/ 289 w 1571"/>
                <a:gd name="T63" fmla="*/ 4 h 257"/>
                <a:gd name="T64" fmla="*/ 320 w 1571"/>
                <a:gd name="T65" fmla="*/ 252 h 257"/>
                <a:gd name="T66" fmla="*/ 187 w 1571"/>
                <a:gd name="T67" fmla="*/ 184 h 257"/>
                <a:gd name="T68" fmla="*/ 91 w 1571"/>
                <a:gd name="T69" fmla="*/ 28 h 257"/>
                <a:gd name="T70" fmla="*/ 181 w 1571"/>
                <a:gd name="T71" fmla="*/ 35 h 257"/>
                <a:gd name="T72" fmla="*/ 8 w 1571"/>
                <a:gd name="T73" fmla="*/ 69 h 257"/>
                <a:gd name="T74" fmla="*/ 97 w 1571"/>
                <a:gd name="T75" fmla="*/ 229 h 257"/>
                <a:gd name="T76" fmla="*/ 0 w 1571"/>
                <a:gd name="T77" fmla="*/ 21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7">
                  <a:moveTo>
                    <a:pt x="1505" y="170"/>
                  </a:moveTo>
                  <a:cubicBezTo>
                    <a:pt x="1399" y="170"/>
                    <a:pt x="1399" y="170"/>
                    <a:pt x="1399" y="170"/>
                  </a:cubicBezTo>
                  <a:cubicBezTo>
                    <a:pt x="1452" y="36"/>
                    <a:pt x="1452" y="36"/>
                    <a:pt x="1452" y="36"/>
                  </a:cubicBezTo>
                  <a:lnTo>
                    <a:pt x="1505" y="170"/>
                  </a:lnTo>
                  <a:close/>
                  <a:moveTo>
                    <a:pt x="1571" y="252"/>
                  </a:moveTo>
                  <a:cubicBezTo>
                    <a:pt x="1471" y="4"/>
                    <a:pt x="1471" y="4"/>
                    <a:pt x="1471" y="4"/>
                  </a:cubicBezTo>
                  <a:cubicBezTo>
                    <a:pt x="1433" y="4"/>
                    <a:pt x="1433" y="4"/>
                    <a:pt x="1433" y="4"/>
                  </a:cubicBezTo>
                  <a:cubicBezTo>
                    <a:pt x="1333" y="252"/>
                    <a:pt x="1333" y="252"/>
                    <a:pt x="1333" y="252"/>
                  </a:cubicBezTo>
                  <a:cubicBezTo>
                    <a:pt x="1368" y="252"/>
                    <a:pt x="1368" y="252"/>
                    <a:pt x="1368" y="252"/>
                  </a:cubicBezTo>
                  <a:cubicBezTo>
                    <a:pt x="1390" y="197"/>
                    <a:pt x="1390" y="197"/>
                    <a:pt x="1390" y="197"/>
                  </a:cubicBezTo>
                  <a:cubicBezTo>
                    <a:pt x="1514" y="197"/>
                    <a:pt x="1514" y="197"/>
                    <a:pt x="1514" y="197"/>
                  </a:cubicBezTo>
                  <a:cubicBezTo>
                    <a:pt x="1536" y="252"/>
                    <a:pt x="1536" y="252"/>
                    <a:pt x="1536" y="252"/>
                  </a:cubicBezTo>
                  <a:lnTo>
                    <a:pt x="1571" y="252"/>
                  </a:lnTo>
                  <a:close/>
                  <a:moveTo>
                    <a:pt x="1208" y="252"/>
                  </a:moveTo>
                  <a:cubicBezTo>
                    <a:pt x="1208" y="31"/>
                    <a:pt x="1208" y="31"/>
                    <a:pt x="1208" y="31"/>
                  </a:cubicBezTo>
                  <a:cubicBezTo>
                    <a:pt x="1287" y="31"/>
                    <a:pt x="1287" y="31"/>
                    <a:pt x="1287" y="31"/>
                  </a:cubicBezTo>
                  <a:cubicBezTo>
                    <a:pt x="1287" y="4"/>
                    <a:pt x="1287" y="4"/>
                    <a:pt x="1287" y="4"/>
                  </a:cubicBezTo>
                  <a:cubicBezTo>
                    <a:pt x="1098" y="4"/>
                    <a:pt x="1098" y="4"/>
                    <a:pt x="1098" y="4"/>
                  </a:cubicBezTo>
                  <a:cubicBezTo>
                    <a:pt x="1098" y="31"/>
                    <a:pt x="1098" y="31"/>
                    <a:pt x="1098" y="31"/>
                  </a:cubicBezTo>
                  <a:cubicBezTo>
                    <a:pt x="1177" y="31"/>
                    <a:pt x="1177" y="31"/>
                    <a:pt x="1177" y="31"/>
                  </a:cubicBezTo>
                  <a:cubicBezTo>
                    <a:pt x="1177" y="252"/>
                    <a:pt x="1177" y="252"/>
                    <a:pt x="1177" y="252"/>
                  </a:cubicBezTo>
                  <a:lnTo>
                    <a:pt x="1208" y="252"/>
                  </a:lnTo>
                  <a:close/>
                  <a:moveTo>
                    <a:pt x="932" y="126"/>
                  </a:moveTo>
                  <a:cubicBezTo>
                    <a:pt x="867" y="126"/>
                    <a:pt x="867" y="126"/>
                    <a:pt x="867" y="126"/>
                  </a:cubicBezTo>
                  <a:cubicBezTo>
                    <a:pt x="867" y="31"/>
                    <a:pt x="867" y="31"/>
                    <a:pt x="867" y="31"/>
                  </a:cubicBezTo>
                  <a:cubicBezTo>
                    <a:pt x="932" y="31"/>
                    <a:pt x="932" y="31"/>
                    <a:pt x="932" y="31"/>
                  </a:cubicBezTo>
                  <a:cubicBezTo>
                    <a:pt x="962" y="31"/>
                    <a:pt x="982" y="51"/>
                    <a:pt x="982" y="79"/>
                  </a:cubicBezTo>
                  <a:cubicBezTo>
                    <a:pt x="982" y="107"/>
                    <a:pt x="962" y="126"/>
                    <a:pt x="932" y="126"/>
                  </a:cubicBezTo>
                  <a:close/>
                  <a:moveTo>
                    <a:pt x="1017" y="252"/>
                  </a:moveTo>
                  <a:cubicBezTo>
                    <a:pt x="950" y="151"/>
                    <a:pt x="950" y="151"/>
                    <a:pt x="950" y="151"/>
                  </a:cubicBezTo>
                  <a:cubicBezTo>
                    <a:pt x="984" y="148"/>
                    <a:pt x="1014" y="123"/>
                    <a:pt x="1014" y="79"/>
                  </a:cubicBezTo>
                  <a:cubicBezTo>
                    <a:pt x="1014" y="33"/>
                    <a:pt x="982" y="4"/>
                    <a:pt x="936" y="4"/>
                  </a:cubicBezTo>
                  <a:cubicBezTo>
                    <a:pt x="836" y="4"/>
                    <a:pt x="836" y="4"/>
                    <a:pt x="836" y="4"/>
                  </a:cubicBezTo>
                  <a:cubicBezTo>
                    <a:pt x="836" y="252"/>
                    <a:pt x="836" y="252"/>
                    <a:pt x="836" y="252"/>
                  </a:cubicBezTo>
                  <a:cubicBezTo>
                    <a:pt x="867" y="252"/>
                    <a:pt x="867" y="252"/>
                    <a:pt x="867" y="252"/>
                  </a:cubicBezTo>
                  <a:cubicBezTo>
                    <a:pt x="867" y="154"/>
                    <a:pt x="867" y="154"/>
                    <a:pt x="867" y="154"/>
                  </a:cubicBezTo>
                  <a:cubicBezTo>
                    <a:pt x="917" y="154"/>
                    <a:pt x="917" y="154"/>
                    <a:pt x="917" y="154"/>
                  </a:cubicBezTo>
                  <a:cubicBezTo>
                    <a:pt x="980" y="252"/>
                    <a:pt x="980" y="252"/>
                    <a:pt x="980" y="252"/>
                  </a:cubicBezTo>
                  <a:lnTo>
                    <a:pt x="1017" y="252"/>
                  </a:lnTo>
                  <a:close/>
                  <a:moveTo>
                    <a:pt x="681" y="170"/>
                  </a:moveTo>
                  <a:cubicBezTo>
                    <a:pt x="576" y="170"/>
                    <a:pt x="576" y="170"/>
                    <a:pt x="576" y="170"/>
                  </a:cubicBezTo>
                  <a:cubicBezTo>
                    <a:pt x="629" y="36"/>
                    <a:pt x="629" y="36"/>
                    <a:pt x="629" y="36"/>
                  </a:cubicBezTo>
                  <a:lnTo>
                    <a:pt x="681" y="170"/>
                  </a:lnTo>
                  <a:close/>
                  <a:moveTo>
                    <a:pt x="748" y="252"/>
                  </a:moveTo>
                  <a:cubicBezTo>
                    <a:pt x="648" y="4"/>
                    <a:pt x="648" y="4"/>
                    <a:pt x="648" y="4"/>
                  </a:cubicBezTo>
                  <a:cubicBezTo>
                    <a:pt x="609" y="4"/>
                    <a:pt x="609" y="4"/>
                    <a:pt x="609" y="4"/>
                  </a:cubicBezTo>
                  <a:cubicBezTo>
                    <a:pt x="509" y="252"/>
                    <a:pt x="509" y="252"/>
                    <a:pt x="509" y="252"/>
                  </a:cubicBezTo>
                  <a:cubicBezTo>
                    <a:pt x="545" y="252"/>
                    <a:pt x="545" y="252"/>
                    <a:pt x="545" y="252"/>
                  </a:cubicBezTo>
                  <a:cubicBezTo>
                    <a:pt x="567" y="197"/>
                    <a:pt x="567" y="197"/>
                    <a:pt x="567" y="197"/>
                  </a:cubicBezTo>
                  <a:cubicBezTo>
                    <a:pt x="691" y="197"/>
                    <a:pt x="691" y="197"/>
                    <a:pt x="691" y="197"/>
                  </a:cubicBezTo>
                  <a:cubicBezTo>
                    <a:pt x="713" y="252"/>
                    <a:pt x="713" y="252"/>
                    <a:pt x="713" y="252"/>
                  </a:cubicBezTo>
                  <a:lnTo>
                    <a:pt x="748" y="252"/>
                  </a:lnTo>
                  <a:close/>
                  <a:moveTo>
                    <a:pt x="385" y="126"/>
                  </a:moveTo>
                  <a:cubicBezTo>
                    <a:pt x="320" y="126"/>
                    <a:pt x="320" y="126"/>
                    <a:pt x="320" y="126"/>
                  </a:cubicBezTo>
                  <a:cubicBezTo>
                    <a:pt x="320" y="31"/>
                    <a:pt x="320" y="31"/>
                    <a:pt x="320" y="31"/>
                  </a:cubicBezTo>
                  <a:cubicBezTo>
                    <a:pt x="385" y="31"/>
                    <a:pt x="385" y="31"/>
                    <a:pt x="385" y="31"/>
                  </a:cubicBezTo>
                  <a:cubicBezTo>
                    <a:pt x="415" y="31"/>
                    <a:pt x="435" y="51"/>
                    <a:pt x="435" y="79"/>
                  </a:cubicBezTo>
                  <a:cubicBezTo>
                    <a:pt x="435" y="107"/>
                    <a:pt x="415" y="126"/>
                    <a:pt x="385" y="126"/>
                  </a:cubicBezTo>
                  <a:close/>
                  <a:moveTo>
                    <a:pt x="320" y="252"/>
                  </a:moveTo>
                  <a:cubicBezTo>
                    <a:pt x="320" y="154"/>
                    <a:pt x="320" y="154"/>
                    <a:pt x="320" y="154"/>
                  </a:cubicBezTo>
                  <a:cubicBezTo>
                    <a:pt x="389" y="154"/>
                    <a:pt x="389" y="154"/>
                    <a:pt x="389" y="154"/>
                  </a:cubicBezTo>
                  <a:cubicBezTo>
                    <a:pt x="438" y="154"/>
                    <a:pt x="467" y="119"/>
                    <a:pt x="467" y="79"/>
                  </a:cubicBezTo>
                  <a:cubicBezTo>
                    <a:pt x="467" y="38"/>
                    <a:pt x="439" y="4"/>
                    <a:pt x="389" y="4"/>
                  </a:cubicBezTo>
                  <a:cubicBezTo>
                    <a:pt x="289" y="4"/>
                    <a:pt x="289" y="4"/>
                    <a:pt x="289" y="4"/>
                  </a:cubicBezTo>
                  <a:cubicBezTo>
                    <a:pt x="289" y="252"/>
                    <a:pt x="289" y="252"/>
                    <a:pt x="289" y="252"/>
                  </a:cubicBezTo>
                  <a:lnTo>
                    <a:pt x="320" y="252"/>
                  </a:lnTo>
                  <a:close/>
                  <a:moveTo>
                    <a:pt x="95" y="257"/>
                  </a:moveTo>
                  <a:cubicBezTo>
                    <a:pt x="162" y="257"/>
                    <a:pt x="187" y="220"/>
                    <a:pt x="187" y="184"/>
                  </a:cubicBezTo>
                  <a:cubicBezTo>
                    <a:pt x="187" y="91"/>
                    <a:pt x="40" y="123"/>
                    <a:pt x="40" y="67"/>
                  </a:cubicBezTo>
                  <a:cubicBezTo>
                    <a:pt x="40" y="44"/>
                    <a:pt x="61" y="28"/>
                    <a:pt x="91" y="28"/>
                  </a:cubicBezTo>
                  <a:cubicBezTo>
                    <a:pt x="118" y="28"/>
                    <a:pt x="144" y="37"/>
                    <a:pt x="163" y="57"/>
                  </a:cubicBezTo>
                  <a:cubicBezTo>
                    <a:pt x="181" y="35"/>
                    <a:pt x="181" y="35"/>
                    <a:pt x="181" y="35"/>
                  </a:cubicBezTo>
                  <a:cubicBezTo>
                    <a:pt x="161" y="13"/>
                    <a:pt x="131" y="0"/>
                    <a:pt x="93" y="0"/>
                  </a:cubicBezTo>
                  <a:cubicBezTo>
                    <a:pt x="44" y="0"/>
                    <a:pt x="8" y="28"/>
                    <a:pt x="8" y="69"/>
                  </a:cubicBezTo>
                  <a:cubicBezTo>
                    <a:pt x="8" y="158"/>
                    <a:pt x="155" y="122"/>
                    <a:pt x="155" y="186"/>
                  </a:cubicBezTo>
                  <a:cubicBezTo>
                    <a:pt x="155" y="205"/>
                    <a:pt x="141" y="229"/>
                    <a:pt x="97" y="229"/>
                  </a:cubicBezTo>
                  <a:cubicBezTo>
                    <a:pt x="61" y="229"/>
                    <a:pt x="35" y="212"/>
                    <a:pt x="18" y="194"/>
                  </a:cubicBezTo>
                  <a:cubicBezTo>
                    <a:pt x="0" y="217"/>
                    <a:pt x="0" y="217"/>
                    <a:pt x="0" y="217"/>
                  </a:cubicBezTo>
                  <a:cubicBezTo>
                    <a:pt x="20" y="240"/>
                    <a:pt x="52" y="257"/>
                    <a:pt x="95" y="2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75" name="Picture 4" descr="https://europa.eu/european-union/sites/europaeu/files/docs/body/flag_white_low.jpg">
            <a:extLst>
              <a:ext uri="{FF2B5EF4-FFF2-40B4-BE49-F238E27FC236}">
                <a16:creationId xmlns:a16="http://schemas.microsoft.com/office/drawing/2014/main" id="{7106CD6F-6EF1-4EC1-A91F-EB4EC84E12D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20068" y="5372275"/>
            <a:ext cx="536499" cy="358925"/>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1C66F88E-1955-4547-B710-0606D2ED3D4E}"/>
              </a:ext>
            </a:extLst>
          </p:cNvPr>
          <p:cNvSpPr txBox="1">
            <a:spLocks/>
          </p:cNvSpPr>
          <p:nvPr userDrawn="1"/>
        </p:nvSpPr>
        <p:spPr>
          <a:xfrm>
            <a:off x="6253389" y="5289357"/>
            <a:ext cx="4807929" cy="524762"/>
          </a:xfrm>
          <a:prstGeom prst="rect">
            <a:avLst/>
          </a:prstGeom>
        </p:spPr>
        <p:txBody>
          <a:bodyPr vert="horz" lIns="0" tIns="0" rIns="0" bIns="0" rtlCol="0" anchor="ctr">
            <a:normAutofit/>
          </a:bodyPr>
          <a:lstStyle>
            <a:lvl1pPr marL="0" indent="0" algn="r" defTabSz="914400" rtl="0" eaLnBrk="1" latinLnBrk="0" hangingPunct="1">
              <a:lnSpc>
                <a:spcPct val="100000"/>
              </a:lnSpc>
              <a:spcBef>
                <a:spcPts val="0"/>
              </a:spcBef>
              <a:spcAft>
                <a:spcPts val="600"/>
              </a:spcAft>
              <a:buClr>
                <a:schemeClr val="accent1"/>
              </a:buClr>
              <a:buFont typeface="Wingdings 3" panose="05040102010807070707" pitchFamily="18" charset="2"/>
              <a:buNone/>
              <a:defRPr lang="en-US" sz="1100" i="1" kern="120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8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BC2026"/>
              </a:buClr>
              <a:buSzTx/>
              <a:buFont typeface="Wingdings 3" panose="05040102010807070707" pitchFamily="18" charset="2"/>
              <a:buNone/>
              <a:tabLst/>
              <a:defRPr/>
            </a:pPr>
            <a:r>
              <a:rPr kumimoji="0" lang="en-US" sz="1100" b="0" i="1" u="none" strike="noStrike" kern="1200" cap="none" spc="0" normalizeH="0" baseline="0" noProof="0" dirty="0">
                <a:ln>
                  <a:noFill/>
                </a:ln>
                <a:solidFill>
                  <a:srgbClr val="000000"/>
                </a:solidFill>
                <a:effectLst/>
                <a:uLnTx/>
                <a:uFillTx/>
                <a:latin typeface="Arial"/>
              </a:rPr>
              <a:t>This project has received funding from the European Union's Horizon 2020 research and innovation </a:t>
            </a:r>
            <a:r>
              <a:rPr kumimoji="0" lang="en-US" sz="1100" b="0" i="1" u="none" strike="noStrike" kern="1200" cap="none" spc="0" normalizeH="0" baseline="0" noProof="0" dirty="0" err="1">
                <a:ln>
                  <a:noFill/>
                </a:ln>
                <a:solidFill>
                  <a:srgbClr val="000000"/>
                </a:solidFill>
                <a:effectLst/>
                <a:uLnTx/>
                <a:uFillTx/>
                <a:latin typeface="Arial"/>
              </a:rPr>
              <a:t>programme</a:t>
            </a:r>
            <a:r>
              <a:rPr kumimoji="0" lang="en-US" sz="1100" b="0" i="1" u="none" strike="noStrike" kern="1200" cap="none" spc="0" normalizeH="0" baseline="0" noProof="0" dirty="0">
                <a:ln>
                  <a:noFill/>
                </a:ln>
                <a:solidFill>
                  <a:srgbClr val="000000"/>
                </a:solidFill>
                <a:effectLst/>
                <a:uLnTx/>
                <a:uFillTx/>
                <a:latin typeface="Arial"/>
              </a:rPr>
              <a:t> under grant agreement No 830892</a:t>
            </a:r>
          </a:p>
        </p:txBody>
      </p:sp>
    </p:spTree>
    <p:extLst>
      <p:ext uri="{BB962C8B-B14F-4D97-AF65-F5344CB8AC3E}">
        <p14:creationId xmlns:p14="http://schemas.microsoft.com/office/powerpoint/2010/main" val="13400521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C64DAB-CE69-44B5-A857-74CCBB2E4204}"/>
              </a:ext>
            </a:extLst>
          </p:cNvPr>
          <p:cNvSpPr/>
          <p:nvPr userDrawn="1"/>
        </p:nvSpPr>
        <p:spPr>
          <a:xfrm>
            <a:off x="0" y="-2740"/>
            <a:ext cx="12192000"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7FDD3774-A46A-4F77-B9AC-1BE46C396A97}"/>
              </a:ext>
            </a:extLst>
          </p:cNvPr>
          <p:cNvGrpSpPr>
            <a:grpSpLocks/>
          </p:cNvGrpSpPr>
          <p:nvPr userDrawn="1"/>
        </p:nvGrpSpPr>
        <p:grpSpPr>
          <a:xfrm>
            <a:off x="-1587" y="1658031"/>
            <a:ext cx="10748298" cy="3541939"/>
            <a:chOff x="-1587" y="1247775"/>
            <a:chExt cx="10169525" cy="3351213"/>
          </a:xfrm>
        </p:grpSpPr>
        <p:sp>
          <p:nvSpPr>
            <p:cNvPr id="5" name="Freeform 5">
              <a:extLst>
                <a:ext uri="{FF2B5EF4-FFF2-40B4-BE49-F238E27FC236}">
                  <a16:creationId xmlns:a16="http://schemas.microsoft.com/office/drawing/2014/main" id="{1804C65A-939C-4F49-B5BE-DF5460E6BFC0}"/>
                </a:ext>
              </a:extLst>
            </p:cNvPr>
            <p:cNvSpPr>
              <a:spLocks/>
            </p:cNvSpPr>
            <p:nvPr/>
          </p:nvSpPr>
          <p:spPr bwMode="auto">
            <a:xfrm>
              <a:off x="-1587" y="1247775"/>
              <a:ext cx="9555163" cy="3351213"/>
            </a:xfrm>
            <a:custGeom>
              <a:avLst/>
              <a:gdLst>
                <a:gd name="T0" fmla="*/ 6019 w 6019"/>
                <a:gd name="T1" fmla="*/ 1537 h 2111"/>
                <a:gd name="T2" fmla="*/ 6019 w 6019"/>
                <a:gd name="T3" fmla="*/ 1537 h 2111"/>
                <a:gd name="T4" fmla="*/ 5940 w 6019"/>
                <a:gd name="T5" fmla="*/ 1578 h 2111"/>
                <a:gd name="T6" fmla="*/ 5581 w 6019"/>
                <a:gd name="T7" fmla="*/ 1763 h 2111"/>
                <a:gd name="T8" fmla="*/ 5224 w 6019"/>
                <a:gd name="T9" fmla="*/ 1578 h 2111"/>
                <a:gd name="T10" fmla="*/ 5145 w 6019"/>
                <a:gd name="T11" fmla="*/ 1537 h 2111"/>
                <a:gd name="T12" fmla="*/ 5519 w 6019"/>
                <a:gd name="T13" fmla="*/ 1210 h 2111"/>
                <a:gd name="T14" fmla="*/ 5259 w 6019"/>
                <a:gd name="T15" fmla="*/ 984 h 2111"/>
                <a:gd name="T16" fmla="*/ 4795 w 6019"/>
                <a:gd name="T17" fmla="*/ 1390 h 2111"/>
                <a:gd name="T18" fmla="*/ 4773 w 6019"/>
                <a:gd name="T19" fmla="*/ 1410 h 2111"/>
                <a:gd name="T20" fmla="*/ 4797 w 6019"/>
                <a:gd name="T21" fmla="*/ 1741 h 2111"/>
                <a:gd name="T22" fmla="*/ 4797 w 6019"/>
                <a:gd name="T23" fmla="*/ 1741 h 2111"/>
                <a:gd name="T24" fmla="*/ 4868 w 6019"/>
                <a:gd name="T25" fmla="*/ 1779 h 2111"/>
                <a:gd name="T26" fmla="*/ 4947 w 6019"/>
                <a:gd name="T27" fmla="*/ 1818 h 2111"/>
                <a:gd name="T28" fmla="*/ 5509 w 6019"/>
                <a:gd name="T29" fmla="*/ 2111 h 2111"/>
                <a:gd name="T30" fmla="*/ 0 w 6019"/>
                <a:gd name="T31" fmla="*/ 2111 h 2111"/>
                <a:gd name="T32" fmla="*/ 0 w 6019"/>
                <a:gd name="T33" fmla="*/ 0 h 2111"/>
                <a:gd name="T34" fmla="*/ 5558 w 6019"/>
                <a:gd name="T35" fmla="*/ 0 h 2111"/>
                <a:gd name="T36" fmla="*/ 4797 w 6019"/>
                <a:gd name="T37" fmla="*/ 117 h 2111"/>
                <a:gd name="T38" fmla="*/ 4773 w 6019"/>
                <a:gd name="T39" fmla="*/ 447 h 2111"/>
                <a:gd name="T40" fmla="*/ 4791 w 6019"/>
                <a:gd name="T41" fmla="*/ 464 h 2111"/>
                <a:gd name="T42" fmla="*/ 4872 w 6019"/>
                <a:gd name="T43" fmla="*/ 536 h 2111"/>
                <a:gd name="T44" fmla="*/ 6019 w 6019"/>
                <a:gd name="T45" fmla="*/ 1537 h 2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19" h="2111">
                  <a:moveTo>
                    <a:pt x="6019" y="1537"/>
                  </a:moveTo>
                  <a:lnTo>
                    <a:pt x="6019" y="1537"/>
                  </a:lnTo>
                  <a:lnTo>
                    <a:pt x="5940" y="1578"/>
                  </a:lnTo>
                  <a:lnTo>
                    <a:pt x="5581" y="1763"/>
                  </a:lnTo>
                  <a:lnTo>
                    <a:pt x="5224" y="1578"/>
                  </a:lnTo>
                  <a:lnTo>
                    <a:pt x="5145" y="1537"/>
                  </a:lnTo>
                  <a:lnTo>
                    <a:pt x="5519" y="1210"/>
                  </a:lnTo>
                  <a:lnTo>
                    <a:pt x="5259" y="984"/>
                  </a:lnTo>
                  <a:lnTo>
                    <a:pt x="4795" y="1390"/>
                  </a:lnTo>
                  <a:lnTo>
                    <a:pt x="4773" y="1410"/>
                  </a:lnTo>
                  <a:lnTo>
                    <a:pt x="4797" y="1741"/>
                  </a:lnTo>
                  <a:lnTo>
                    <a:pt x="4797" y="1741"/>
                  </a:lnTo>
                  <a:lnTo>
                    <a:pt x="4868" y="1779"/>
                  </a:lnTo>
                  <a:lnTo>
                    <a:pt x="4947" y="1818"/>
                  </a:lnTo>
                  <a:lnTo>
                    <a:pt x="5509" y="2111"/>
                  </a:lnTo>
                  <a:lnTo>
                    <a:pt x="0" y="2111"/>
                  </a:lnTo>
                  <a:lnTo>
                    <a:pt x="0" y="0"/>
                  </a:lnTo>
                  <a:lnTo>
                    <a:pt x="5558" y="0"/>
                  </a:lnTo>
                  <a:lnTo>
                    <a:pt x="4797" y="117"/>
                  </a:lnTo>
                  <a:lnTo>
                    <a:pt x="4773" y="447"/>
                  </a:lnTo>
                  <a:lnTo>
                    <a:pt x="4791" y="464"/>
                  </a:lnTo>
                  <a:lnTo>
                    <a:pt x="4872" y="536"/>
                  </a:lnTo>
                  <a:lnTo>
                    <a:pt x="6019" y="1537"/>
                  </a:lnTo>
                  <a:close/>
                </a:path>
              </a:pathLst>
            </a:custGeom>
            <a:gradFill flip="none" rotWithShape="1">
              <a:gsLst>
                <a:gs pos="0">
                  <a:schemeClr val="accent1">
                    <a:alpha val="45000"/>
                  </a:schemeClr>
                </a:gs>
                <a:gs pos="100000">
                  <a:schemeClr val="accent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 name="Group 5">
              <a:extLst>
                <a:ext uri="{FF2B5EF4-FFF2-40B4-BE49-F238E27FC236}">
                  <a16:creationId xmlns:a16="http://schemas.microsoft.com/office/drawing/2014/main" id="{A4651F89-3A22-4417-ADEF-4CD9C17E3B53}"/>
                </a:ext>
              </a:extLst>
            </p:cNvPr>
            <p:cNvGrpSpPr/>
            <p:nvPr/>
          </p:nvGrpSpPr>
          <p:grpSpPr>
            <a:xfrm>
              <a:off x="7575551" y="1247775"/>
              <a:ext cx="2592387" cy="3351213"/>
              <a:chOff x="7575551" y="1247775"/>
              <a:chExt cx="2592387" cy="3351213"/>
            </a:xfrm>
          </p:grpSpPr>
          <p:sp>
            <p:nvSpPr>
              <p:cNvPr id="7" name="Freeform 6">
                <a:extLst>
                  <a:ext uri="{FF2B5EF4-FFF2-40B4-BE49-F238E27FC236}">
                    <a16:creationId xmlns:a16="http://schemas.microsoft.com/office/drawing/2014/main" id="{6BA2E549-409E-4C3D-81DE-ADD5A44F3F2D}"/>
                  </a:ext>
                </a:extLst>
              </p:cNvPr>
              <p:cNvSpPr>
                <a:spLocks/>
              </p:cNvSpPr>
              <p:nvPr/>
            </p:nvSpPr>
            <p:spPr bwMode="auto">
              <a:xfrm>
                <a:off x="7575551" y="3454400"/>
                <a:ext cx="2568575" cy="1144588"/>
              </a:xfrm>
              <a:custGeom>
                <a:avLst/>
                <a:gdLst>
                  <a:gd name="T0" fmla="*/ 1618 w 1618"/>
                  <a:gd name="T1" fmla="*/ 20 h 721"/>
                  <a:gd name="T2" fmla="*/ 1594 w 1618"/>
                  <a:gd name="T3" fmla="*/ 351 h 721"/>
                  <a:gd name="T4" fmla="*/ 1520 w 1618"/>
                  <a:gd name="T5" fmla="*/ 389 h 721"/>
                  <a:gd name="T6" fmla="*/ 1441 w 1618"/>
                  <a:gd name="T7" fmla="*/ 428 h 721"/>
                  <a:gd name="T8" fmla="*/ 1344 w 1618"/>
                  <a:gd name="T9" fmla="*/ 479 h 721"/>
                  <a:gd name="T10" fmla="*/ 879 w 1618"/>
                  <a:gd name="T11" fmla="*/ 721 h 721"/>
                  <a:gd name="T12" fmla="*/ 736 w 1618"/>
                  <a:gd name="T13" fmla="*/ 721 h 721"/>
                  <a:gd name="T14" fmla="*/ 174 w 1618"/>
                  <a:gd name="T15" fmla="*/ 428 h 721"/>
                  <a:gd name="T16" fmla="*/ 95 w 1618"/>
                  <a:gd name="T17" fmla="*/ 389 h 721"/>
                  <a:gd name="T18" fmla="*/ 24 w 1618"/>
                  <a:gd name="T19" fmla="*/ 351 h 721"/>
                  <a:gd name="T20" fmla="*/ 0 w 1618"/>
                  <a:gd name="T21" fmla="*/ 20 h 721"/>
                  <a:gd name="T22" fmla="*/ 22 w 1618"/>
                  <a:gd name="T23" fmla="*/ 0 h 721"/>
                  <a:gd name="T24" fmla="*/ 334 w 1618"/>
                  <a:gd name="T25" fmla="*/ 128 h 721"/>
                  <a:gd name="T26" fmla="*/ 372 w 1618"/>
                  <a:gd name="T27" fmla="*/ 147 h 721"/>
                  <a:gd name="T28" fmla="*/ 451 w 1618"/>
                  <a:gd name="T29" fmla="*/ 188 h 721"/>
                  <a:gd name="T30" fmla="*/ 808 w 1618"/>
                  <a:gd name="T31" fmla="*/ 373 h 721"/>
                  <a:gd name="T32" fmla="*/ 1167 w 1618"/>
                  <a:gd name="T33" fmla="*/ 188 h 721"/>
                  <a:gd name="T34" fmla="*/ 1246 w 1618"/>
                  <a:gd name="T35" fmla="*/ 147 h 721"/>
                  <a:gd name="T36" fmla="*/ 1246 w 1618"/>
                  <a:gd name="T37" fmla="*/ 147 h 721"/>
                  <a:gd name="T38" fmla="*/ 1282 w 1618"/>
                  <a:gd name="T39" fmla="*/ 128 h 721"/>
                  <a:gd name="T40" fmla="*/ 1344 w 1618"/>
                  <a:gd name="T41" fmla="*/ 103 h 721"/>
                  <a:gd name="T42" fmla="*/ 1595 w 1618"/>
                  <a:gd name="T43" fmla="*/ 0 h 721"/>
                  <a:gd name="T44" fmla="*/ 1618 w 1618"/>
                  <a:gd name="T45" fmla="*/ 20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8" h="721">
                    <a:moveTo>
                      <a:pt x="1618" y="20"/>
                    </a:moveTo>
                    <a:lnTo>
                      <a:pt x="1594" y="351"/>
                    </a:lnTo>
                    <a:lnTo>
                      <a:pt x="1520" y="389"/>
                    </a:lnTo>
                    <a:lnTo>
                      <a:pt x="1441" y="428"/>
                    </a:lnTo>
                    <a:lnTo>
                      <a:pt x="1344" y="479"/>
                    </a:lnTo>
                    <a:lnTo>
                      <a:pt x="879" y="721"/>
                    </a:lnTo>
                    <a:lnTo>
                      <a:pt x="736" y="721"/>
                    </a:lnTo>
                    <a:lnTo>
                      <a:pt x="174" y="428"/>
                    </a:lnTo>
                    <a:lnTo>
                      <a:pt x="95" y="389"/>
                    </a:lnTo>
                    <a:lnTo>
                      <a:pt x="24" y="351"/>
                    </a:lnTo>
                    <a:lnTo>
                      <a:pt x="0" y="20"/>
                    </a:lnTo>
                    <a:lnTo>
                      <a:pt x="22" y="0"/>
                    </a:lnTo>
                    <a:lnTo>
                      <a:pt x="334" y="128"/>
                    </a:lnTo>
                    <a:lnTo>
                      <a:pt x="372" y="147"/>
                    </a:lnTo>
                    <a:lnTo>
                      <a:pt x="451" y="188"/>
                    </a:lnTo>
                    <a:lnTo>
                      <a:pt x="808" y="373"/>
                    </a:lnTo>
                    <a:lnTo>
                      <a:pt x="1167" y="188"/>
                    </a:lnTo>
                    <a:lnTo>
                      <a:pt x="1246" y="147"/>
                    </a:lnTo>
                    <a:lnTo>
                      <a:pt x="1246" y="147"/>
                    </a:lnTo>
                    <a:lnTo>
                      <a:pt x="1282" y="128"/>
                    </a:lnTo>
                    <a:lnTo>
                      <a:pt x="1344" y="103"/>
                    </a:lnTo>
                    <a:lnTo>
                      <a:pt x="1595" y="0"/>
                    </a:lnTo>
                    <a:lnTo>
                      <a:pt x="1618" y="2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3BF3BDF1-D136-472C-9B7A-778DF5BB65E5}"/>
                  </a:ext>
                </a:extLst>
              </p:cNvPr>
              <p:cNvSpPr>
                <a:spLocks/>
              </p:cNvSpPr>
              <p:nvPr/>
            </p:nvSpPr>
            <p:spPr bwMode="auto">
              <a:xfrm>
                <a:off x="7575551" y="1801813"/>
                <a:ext cx="2568575" cy="2270125"/>
              </a:xfrm>
              <a:custGeom>
                <a:avLst/>
                <a:gdLst>
                  <a:gd name="T0" fmla="*/ 1618 w 1618"/>
                  <a:gd name="T1" fmla="*/ 1061 h 1430"/>
                  <a:gd name="T2" fmla="*/ 1594 w 1618"/>
                  <a:gd name="T3" fmla="*/ 1392 h 1430"/>
                  <a:gd name="T4" fmla="*/ 1520 w 1618"/>
                  <a:gd name="T5" fmla="*/ 1430 h 1430"/>
                  <a:gd name="T6" fmla="*/ 1520 w 1618"/>
                  <a:gd name="T7" fmla="*/ 1430 h 1430"/>
                  <a:gd name="T8" fmla="*/ 1344 w 1618"/>
                  <a:gd name="T9" fmla="*/ 1275 h 1430"/>
                  <a:gd name="T10" fmla="*/ 1344 w 1618"/>
                  <a:gd name="T11" fmla="*/ 1275 h 1430"/>
                  <a:gd name="T12" fmla="*/ 1246 w 1618"/>
                  <a:gd name="T13" fmla="*/ 1188 h 1430"/>
                  <a:gd name="T14" fmla="*/ 1246 w 1618"/>
                  <a:gd name="T15" fmla="*/ 1188 h 1430"/>
                  <a:gd name="T16" fmla="*/ 99 w 1618"/>
                  <a:gd name="T17" fmla="*/ 187 h 1430"/>
                  <a:gd name="T18" fmla="*/ 18 w 1618"/>
                  <a:gd name="T19" fmla="*/ 115 h 1430"/>
                  <a:gd name="T20" fmla="*/ 0 w 1618"/>
                  <a:gd name="T21" fmla="*/ 98 h 1430"/>
                  <a:gd name="T22" fmla="*/ 2 w 1618"/>
                  <a:gd name="T23" fmla="*/ 63 h 1430"/>
                  <a:gd name="T24" fmla="*/ 406 w 1618"/>
                  <a:gd name="T25" fmla="*/ 0 h 1430"/>
                  <a:gd name="T26" fmla="*/ 458 w 1618"/>
                  <a:gd name="T27" fmla="*/ 47 h 1430"/>
                  <a:gd name="T28" fmla="*/ 458 w 1618"/>
                  <a:gd name="T29" fmla="*/ 47 h 1430"/>
                  <a:gd name="T30" fmla="*/ 541 w 1618"/>
                  <a:gd name="T31" fmla="*/ 119 h 1430"/>
                  <a:gd name="T32" fmla="*/ 541 w 1618"/>
                  <a:gd name="T33" fmla="*/ 119 h 1430"/>
                  <a:gd name="T34" fmla="*/ 1344 w 1618"/>
                  <a:gd name="T35" fmla="*/ 822 h 1430"/>
                  <a:gd name="T36" fmla="*/ 1595 w 1618"/>
                  <a:gd name="T37" fmla="*/ 1041 h 1430"/>
                  <a:gd name="T38" fmla="*/ 1618 w 1618"/>
                  <a:gd name="T39" fmla="*/ 1061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8" h="1430">
                    <a:moveTo>
                      <a:pt x="1618" y="1061"/>
                    </a:moveTo>
                    <a:lnTo>
                      <a:pt x="1594" y="1392"/>
                    </a:lnTo>
                    <a:lnTo>
                      <a:pt x="1520" y="1430"/>
                    </a:lnTo>
                    <a:lnTo>
                      <a:pt x="1520" y="1430"/>
                    </a:lnTo>
                    <a:lnTo>
                      <a:pt x="1344" y="1275"/>
                    </a:lnTo>
                    <a:lnTo>
                      <a:pt x="1344" y="1275"/>
                    </a:lnTo>
                    <a:lnTo>
                      <a:pt x="1246" y="1188"/>
                    </a:lnTo>
                    <a:lnTo>
                      <a:pt x="1246" y="1188"/>
                    </a:lnTo>
                    <a:lnTo>
                      <a:pt x="99" y="187"/>
                    </a:lnTo>
                    <a:lnTo>
                      <a:pt x="18" y="115"/>
                    </a:lnTo>
                    <a:lnTo>
                      <a:pt x="0" y="98"/>
                    </a:lnTo>
                    <a:lnTo>
                      <a:pt x="2" y="63"/>
                    </a:lnTo>
                    <a:lnTo>
                      <a:pt x="406" y="0"/>
                    </a:lnTo>
                    <a:lnTo>
                      <a:pt x="458" y="47"/>
                    </a:lnTo>
                    <a:lnTo>
                      <a:pt x="458" y="47"/>
                    </a:lnTo>
                    <a:lnTo>
                      <a:pt x="541" y="119"/>
                    </a:lnTo>
                    <a:lnTo>
                      <a:pt x="541" y="119"/>
                    </a:lnTo>
                    <a:lnTo>
                      <a:pt x="1344" y="822"/>
                    </a:lnTo>
                    <a:lnTo>
                      <a:pt x="1595" y="1041"/>
                    </a:lnTo>
                    <a:lnTo>
                      <a:pt x="1618" y="1061"/>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2CB290B9-DD38-4E6B-AFDA-755C93926BA2}"/>
                  </a:ext>
                </a:extLst>
              </p:cNvPr>
              <p:cNvSpPr>
                <a:spLocks/>
              </p:cNvSpPr>
              <p:nvPr/>
            </p:nvSpPr>
            <p:spPr bwMode="auto">
              <a:xfrm>
                <a:off x="7575551" y="2809875"/>
                <a:ext cx="1184275" cy="1262063"/>
              </a:xfrm>
              <a:custGeom>
                <a:avLst/>
                <a:gdLst>
                  <a:gd name="T0" fmla="*/ 746 w 746"/>
                  <a:gd name="T1" fmla="*/ 226 h 795"/>
                  <a:gd name="T2" fmla="*/ 372 w 746"/>
                  <a:gd name="T3" fmla="*/ 553 h 795"/>
                  <a:gd name="T4" fmla="*/ 95 w 746"/>
                  <a:gd name="T5" fmla="*/ 795 h 795"/>
                  <a:gd name="T6" fmla="*/ 24 w 746"/>
                  <a:gd name="T7" fmla="*/ 757 h 795"/>
                  <a:gd name="T8" fmla="*/ 24 w 746"/>
                  <a:gd name="T9" fmla="*/ 757 h 795"/>
                  <a:gd name="T10" fmla="*/ 0 w 746"/>
                  <a:gd name="T11" fmla="*/ 426 h 795"/>
                  <a:gd name="T12" fmla="*/ 22 w 746"/>
                  <a:gd name="T13" fmla="*/ 406 h 795"/>
                  <a:gd name="T14" fmla="*/ 486 w 746"/>
                  <a:gd name="T15" fmla="*/ 0 h 795"/>
                  <a:gd name="T16" fmla="*/ 746 w 746"/>
                  <a:gd name="T17" fmla="*/ 226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6" h="795">
                    <a:moveTo>
                      <a:pt x="746" y="226"/>
                    </a:moveTo>
                    <a:lnTo>
                      <a:pt x="372" y="553"/>
                    </a:lnTo>
                    <a:lnTo>
                      <a:pt x="95" y="795"/>
                    </a:lnTo>
                    <a:lnTo>
                      <a:pt x="24" y="757"/>
                    </a:lnTo>
                    <a:lnTo>
                      <a:pt x="24" y="757"/>
                    </a:lnTo>
                    <a:lnTo>
                      <a:pt x="0" y="426"/>
                    </a:lnTo>
                    <a:lnTo>
                      <a:pt x="22" y="406"/>
                    </a:lnTo>
                    <a:lnTo>
                      <a:pt x="486" y="0"/>
                    </a:lnTo>
                    <a:lnTo>
                      <a:pt x="746" y="226"/>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a:extLst>
                  <a:ext uri="{FF2B5EF4-FFF2-40B4-BE49-F238E27FC236}">
                    <a16:creationId xmlns:a16="http://schemas.microsoft.com/office/drawing/2014/main" id="{8DDB055A-6490-4F5D-8E0F-791CB7E66E73}"/>
                  </a:ext>
                </a:extLst>
              </p:cNvPr>
              <p:cNvSpPr>
                <a:spLocks/>
              </p:cNvSpPr>
              <p:nvPr/>
            </p:nvSpPr>
            <p:spPr bwMode="auto">
              <a:xfrm>
                <a:off x="7575551" y="1247775"/>
                <a:ext cx="2141538" cy="736600"/>
              </a:xfrm>
              <a:custGeom>
                <a:avLst/>
                <a:gdLst>
                  <a:gd name="T0" fmla="*/ 1349 w 1349"/>
                  <a:gd name="T1" fmla="*/ 79 h 464"/>
                  <a:gd name="T2" fmla="*/ 1349 w 1349"/>
                  <a:gd name="T3" fmla="*/ 427 h 464"/>
                  <a:gd name="T4" fmla="*/ 1344 w 1349"/>
                  <a:gd name="T5" fmla="*/ 425 h 464"/>
                  <a:gd name="T6" fmla="*/ 1293 w 1349"/>
                  <a:gd name="T7" fmla="*/ 417 h 464"/>
                  <a:gd name="T8" fmla="*/ 1212 w 1349"/>
                  <a:gd name="T9" fmla="*/ 404 h 464"/>
                  <a:gd name="T10" fmla="*/ 808 w 1349"/>
                  <a:gd name="T11" fmla="*/ 342 h 464"/>
                  <a:gd name="T12" fmla="*/ 458 w 1349"/>
                  <a:gd name="T13" fmla="*/ 396 h 464"/>
                  <a:gd name="T14" fmla="*/ 458 w 1349"/>
                  <a:gd name="T15" fmla="*/ 396 h 464"/>
                  <a:gd name="T16" fmla="*/ 18 w 1349"/>
                  <a:gd name="T17" fmla="*/ 464 h 464"/>
                  <a:gd name="T18" fmla="*/ 0 w 1349"/>
                  <a:gd name="T19" fmla="*/ 447 h 464"/>
                  <a:gd name="T20" fmla="*/ 24 w 1349"/>
                  <a:gd name="T21" fmla="*/ 117 h 464"/>
                  <a:gd name="T22" fmla="*/ 785 w 1349"/>
                  <a:gd name="T23" fmla="*/ 0 h 464"/>
                  <a:gd name="T24" fmla="*/ 832 w 1349"/>
                  <a:gd name="T25" fmla="*/ 0 h 464"/>
                  <a:gd name="T26" fmla="*/ 1212 w 1349"/>
                  <a:gd name="T27" fmla="*/ 59 h 464"/>
                  <a:gd name="T28" fmla="*/ 1293 w 1349"/>
                  <a:gd name="T29" fmla="*/ 72 h 464"/>
                  <a:gd name="T30" fmla="*/ 1344 w 1349"/>
                  <a:gd name="T31" fmla="*/ 79 h 464"/>
                  <a:gd name="T32" fmla="*/ 1349 w 1349"/>
                  <a:gd name="T33" fmla="*/ 79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9" h="464">
                    <a:moveTo>
                      <a:pt x="1349" y="79"/>
                    </a:moveTo>
                    <a:lnTo>
                      <a:pt x="1349" y="427"/>
                    </a:lnTo>
                    <a:lnTo>
                      <a:pt x="1344" y="425"/>
                    </a:lnTo>
                    <a:lnTo>
                      <a:pt x="1293" y="417"/>
                    </a:lnTo>
                    <a:lnTo>
                      <a:pt x="1212" y="404"/>
                    </a:lnTo>
                    <a:lnTo>
                      <a:pt x="808" y="342"/>
                    </a:lnTo>
                    <a:lnTo>
                      <a:pt x="458" y="396"/>
                    </a:lnTo>
                    <a:lnTo>
                      <a:pt x="458" y="396"/>
                    </a:lnTo>
                    <a:lnTo>
                      <a:pt x="18" y="464"/>
                    </a:lnTo>
                    <a:lnTo>
                      <a:pt x="0" y="447"/>
                    </a:lnTo>
                    <a:lnTo>
                      <a:pt x="24" y="117"/>
                    </a:lnTo>
                    <a:lnTo>
                      <a:pt x="785" y="0"/>
                    </a:lnTo>
                    <a:lnTo>
                      <a:pt x="832" y="0"/>
                    </a:lnTo>
                    <a:lnTo>
                      <a:pt x="1212" y="59"/>
                    </a:lnTo>
                    <a:lnTo>
                      <a:pt x="1293" y="72"/>
                    </a:lnTo>
                    <a:lnTo>
                      <a:pt x="1344" y="79"/>
                    </a:lnTo>
                    <a:lnTo>
                      <a:pt x="1349" y="79"/>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a:extLst>
                  <a:ext uri="{FF2B5EF4-FFF2-40B4-BE49-F238E27FC236}">
                    <a16:creationId xmlns:a16="http://schemas.microsoft.com/office/drawing/2014/main" id="{AFB9C6FD-5934-4FE5-9AC5-3DBEDA221D3F}"/>
                  </a:ext>
                </a:extLst>
              </p:cNvPr>
              <p:cNvSpPr>
                <a:spLocks/>
              </p:cNvSpPr>
              <p:nvPr/>
            </p:nvSpPr>
            <p:spPr bwMode="auto">
              <a:xfrm>
                <a:off x="9628188" y="1362075"/>
                <a:ext cx="539750" cy="1168400"/>
              </a:xfrm>
              <a:custGeom>
                <a:avLst/>
                <a:gdLst>
                  <a:gd name="T0" fmla="*/ 0 w 340"/>
                  <a:gd name="T1" fmla="*/ 736 h 736"/>
                  <a:gd name="T2" fmla="*/ 0 w 340"/>
                  <a:gd name="T3" fmla="*/ 0 h 736"/>
                  <a:gd name="T4" fmla="*/ 207 w 340"/>
                  <a:gd name="T5" fmla="*/ 32 h 736"/>
                  <a:gd name="T6" fmla="*/ 340 w 340"/>
                  <a:gd name="T7" fmla="*/ 189 h 736"/>
                  <a:gd name="T8" fmla="*/ 340 w 340"/>
                  <a:gd name="T9" fmla="*/ 593 h 736"/>
                  <a:gd name="T10" fmla="*/ 0 w 340"/>
                  <a:gd name="T11" fmla="*/ 736 h 736"/>
                </a:gdLst>
                <a:ahLst/>
                <a:cxnLst>
                  <a:cxn ang="0">
                    <a:pos x="T0" y="T1"/>
                  </a:cxn>
                  <a:cxn ang="0">
                    <a:pos x="T2" y="T3"/>
                  </a:cxn>
                  <a:cxn ang="0">
                    <a:pos x="T4" y="T5"/>
                  </a:cxn>
                  <a:cxn ang="0">
                    <a:pos x="T6" y="T7"/>
                  </a:cxn>
                  <a:cxn ang="0">
                    <a:pos x="T8" y="T9"/>
                  </a:cxn>
                  <a:cxn ang="0">
                    <a:pos x="T10" y="T11"/>
                  </a:cxn>
                </a:cxnLst>
                <a:rect l="0" t="0" r="r" b="b"/>
                <a:pathLst>
                  <a:path w="340" h="736">
                    <a:moveTo>
                      <a:pt x="0" y="736"/>
                    </a:moveTo>
                    <a:lnTo>
                      <a:pt x="0" y="0"/>
                    </a:lnTo>
                    <a:lnTo>
                      <a:pt x="207" y="32"/>
                    </a:lnTo>
                    <a:lnTo>
                      <a:pt x="340" y="189"/>
                    </a:lnTo>
                    <a:lnTo>
                      <a:pt x="340" y="593"/>
                    </a:lnTo>
                    <a:lnTo>
                      <a:pt x="0" y="736"/>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a:extLst>
                  <a:ext uri="{FF2B5EF4-FFF2-40B4-BE49-F238E27FC236}">
                    <a16:creationId xmlns:a16="http://schemas.microsoft.com/office/drawing/2014/main" id="{A06C62EF-C92C-44AE-AFBC-B958297ABB8B}"/>
                  </a:ext>
                </a:extLst>
              </p:cNvPr>
              <p:cNvSpPr>
                <a:spLocks/>
              </p:cNvSpPr>
              <p:nvPr/>
            </p:nvSpPr>
            <p:spPr bwMode="auto">
              <a:xfrm>
                <a:off x="9499601" y="1341438"/>
                <a:ext cx="128588" cy="568325"/>
              </a:xfrm>
              <a:custGeom>
                <a:avLst/>
                <a:gdLst>
                  <a:gd name="T0" fmla="*/ 0 w 81"/>
                  <a:gd name="T1" fmla="*/ 345 h 358"/>
                  <a:gd name="T2" fmla="*/ 81 w 81"/>
                  <a:gd name="T3" fmla="*/ 358 h 358"/>
                  <a:gd name="T4" fmla="*/ 81 w 81"/>
                  <a:gd name="T5" fmla="*/ 13 h 358"/>
                  <a:gd name="T6" fmla="*/ 0 w 81"/>
                  <a:gd name="T7" fmla="*/ 0 h 358"/>
                  <a:gd name="T8" fmla="*/ 0 w 81"/>
                  <a:gd name="T9" fmla="*/ 345 h 358"/>
                </a:gdLst>
                <a:ahLst/>
                <a:cxnLst>
                  <a:cxn ang="0">
                    <a:pos x="T0" y="T1"/>
                  </a:cxn>
                  <a:cxn ang="0">
                    <a:pos x="T2" y="T3"/>
                  </a:cxn>
                  <a:cxn ang="0">
                    <a:pos x="T4" y="T5"/>
                  </a:cxn>
                  <a:cxn ang="0">
                    <a:pos x="T6" y="T7"/>
                  </a:cxn>
                  <a:cxn ang="0">
                    <a:pos x="T8" y="T9"/>
                  </a:cxn>
                </a:cxnLst>
                <a:rect l="0" t="0" r="r" b="b"/>
                <a:pathLst>
                  <a:path w="81" h="358">
                    <a:moveTo>
                      <a:pt x="0" y="345"/>
                    </a:moveTo>
                    <a:lnTo>
                      <a:pt x="81" y="358"/>
                    </a:lnTo>
                    <a:lnTo>
                      <a:pt x="81" y="13"/>
                    </a:lnTo>
                    <a:lnTo>
                      <a:pt x="0" y="0"/>
                    </a:lnTo>
                    <a:lnTo>
                      <a:pt x="0" y="345"/>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a:extLst>
                  <a:ext uri="{FF2B5EF4-FFF2-40B4-BE49-F238E27FC236}">
                    <a16:creationId xmlns:a16="http://schemas.microsoft.com/office/drawing/2014/main" id="{4D01A2C6-D632-409A-869A-E4129617ED0E}"/>
                  </a:ext>
                </a:extLst>
              </p:cNvPr>
              <p:cNvSpPr>
                <a:spLocks/>
              </p:cNvSpPr>
              <p:nvPr/>
            </p:nvSpPr>
            <p:spPr bwMode="auto">
              <a:xfrm>
                <a:off x="7604126" y="1876425"/>
                <a:ext cx="830263" cy="222250"/>
              </a:xfrm>
              <a:custGeom>
                <a:avLst/>
                <a:gdLst>
                  <a:gd name="T0" fmla="*/ 523 w 523"/>
                  <a:gd name="T1" fmla="*/ 72 h 140"/>
                  <a:gd name="T2" fmla="*/ 81 w 523"/>
                  <a:gd name="T3" fmla="*/ 140 h 140"/>
                  <a:gd name="T4" fmla="*/ 0 w 523"/>
                  <a:gd name="T5" fmla="*/ 68 h 140"/>
                  <a:gd name="T6" fmla="*/ 440 w 523"/>
                  <a:gd name="T7" fmla="*/ 0 h 140"/>
                  <a:gd name="T8" fmla="*/ 440 w 523"/>
                  <a:gd name="T9" fmla="*/ 0 h 140"/>
                  <a:gd name="T10" fmla="*/ 523 w 523"/>
                  <a:gd name="T11" fmla="*/ 72 h 140"/>
                </a:gdLst>
                <a:ahLst/>
                <a:cxnLst>
                  <a:cxn ang="0">
                    <a:pos x="T0" y="T1"/>
                  </a:cxn>
                  <a:cxn ang="0">
                    <a:pos x="T2" y="T3"/>
                  </a:cxn>
                  <a:cxn ang="0">
                    <a:pos x="T4" y="T5"/>
                  </a:cxn>
                  <a:cxn ang="0">
                    <a:pos x="T6" y="T7"/>
                  </a:cxn>
                  <a:cxn ang="0">
                    <a:pos x="T8" y="T9"/>
                  </a:cxn>
                  <a:cxn ang="0">
                    <a:pos x="T10" y="T11"/>
                  </a:cxn>
                </a:cxnLst>
                <a:rect l="0" t="0" r="r" b="b"/>
                <a:pathLst>
                  <a:path w="523" h="140">
                    <a:moveTo>
                      <a:pt x="523" y="72"/>
                    </a:moveTo>
                    <a:lnTo>
                      <a:pt x="81" y="140"/>
                    </a:lnTo>
                    <a:lnTo>
                      <a:pt x="0" y="68"/>
                    </a:lnTo>
                    <a:lnTo>
                      <a:pt x="440" y="0"/>
                    </a:lnTo>
                    <a:lnTo>
                      <a:pt x="440" y="0"/>
                    </a:lnTo>
                    <a:lnTo>
                      <a:pt x="523" y="7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a:extLst>
                  <a:ext uri="{FF2B5EF4-FFF2-40B4-BE49-F238E27FC236}">
                    <a16:creationId xmlns:a16="http://schemas.microsoft.com/office/drawing/2014/main" id="{ED7237ED-178D-47CD-A945-46B301AEFC39}"/>
                  </a:ext>
                </a:extLst>
              </p:cNvPr>
              <p:cNvSpPr>
                <a:spLocks/>
              </p:cNvSpPr>
              <p:nvPr/>
            </p:nvSpPr>
            <p:spPr bwMode="auto">
              <a:xfrm>
                <a:off x="9428163" y="3687763"/>
                <a:ext cx="560388" cy="446088"/>
              </a:xfrm>
              <a:custGeom>
                <a:avLst/>
                <a:gdLst>
                  <a:gd name="T0" fmla="*/ 353 w 353"/>
                  <a:gd name="T1" fmla="*/ 242 h 281"/>
                  <a:gd name="T2" fmla="*/ 274 w 353"/>
                  <a:gd name="T3" fmla="*/ 281 h 281"/>
                  <a:gd name="T4" fmla="*/ 177 w 353"/>
                  <a:gd name="T5" fmla="*/ 196 h 281"/>
                  <a:gd name="T6" fmla="*/ 0 w 353"/>
                  <a:gd name="T7" fmla="*/ 41 h 281"/>
                  <a:gd name="T8" fmla="*/ 79 w 353"/>
                  <a:gd name="T9" fmla="*/ 0 h 281"/>
                  <a:gd name="T10" fmla="*/ 177 w 353"/>
                  <a:gd name="T11" fmla="*/ 87 h 281"/>
                  <a:gd name="T12" fmla="*/ 353 w 353"/>
                  <a:gd name="T13" fmla="*/ 242 h 281"/>
                  <a:gd name="T14" fmla="*/ 353 w 353"/>
                  <a:gd name="T15" fmla="*/ 242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3" h="281">
                    <a:moveTo>
                      <a:pt x="353" y="242"/>
                    </a:moveTo>
                    <a:lnTo>
                      <a:pt x="274" y="281"/>
                    </a:lnTo>
                    <a:lnTo>
                      <a:pt x="177" y="196"/>
                    </a:lnTo>
                    <a:lnTo>
                      <a:pt x="0" y="41"/>
                    </a:lnTo>
                    <a:lnTo>
                      <a:pt x="79" y="0"/>
                    </a:lnTo>
                    <a:lnTo>
                      <a:pt x="177" y="87"/>
                    </a:lnTo>
                    <a:lnTo>
                      <a:pt x="353" y="242"/>
                    </a:lnTo>
                    <a:lnTo>
                      <a:pt x="353" y="242"/>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a:extLst>
                  <a:ext uri="{FF2B5EF4-FFF2-40B4-BE49-F238E27FC236}">
                    <a16:creationId xmlns:a16="http://schemas.microsoft.com/office/drawing/2014/main" id="{A0E5D708-F5AB-419F-AB9E-57A2F9FBE30F}"/>
                  </a:ext>
                </a:extLst>
              </p:cNvPr>
              <p:cNvSpPr>
                <a:spLocks/>
              </p:cNvSpPr>
              <p:nvPr/>
            </p:nvSpPr>
            <p:spPr bwMode="auto">
              <a:xfrm>
                <a:off x="7726363" y="3687763"/>
                <a:ext cx="565150" cy="446088"/>
              </a:xfrm>
              <a:custGeom>
                <a:avLst/>
                <a:gdLst>
                  <a:gd name="T0" fmla="*/ 356 w 356"/>
                  <a:gd name="T1" fmla="*/ 41 h 281"/>
                  <a:gd name="T2" fmla="*/ 79 w 356"/>
                  <a:gd name="T3" fmla="*/ 281 h 281"/>
                  <a:gd name="T4" fmla="*/ 0 w 356"/>
                  <a:gd name="T5" fmla="*/ 242 h 281"/>
                  <a:gd name="T6" fmla="*/ 277 w 356"/>
                  <a:gd name="T7" fmla="*/ 0 h 281"/>
                  <a:gd name="T8" fmla="*/ 356 w 356"/>
                  <a:gd name="T9" fmla="*/ 41 h 281"/>
                </a:gdLst>
                <a:ahLst/>
                <a:cxnLst>
                  <a:cxn ang="0">
                    <a:pos x="T0" y="T1"/>
                  </a:cxn>
                  <a:cxn ang="0">
                    <a:pos x="T2" y="T3"/>
                  </a:cxn>
                  <a:cxn ang="0">
                    <a:pos x="T4" y="T5"/>
                  </a:cxn>
                  <a:cxn ang="0">
                    <a:pos x="T6" y="T7"/>
                  </a:cxn>
                  <a:cxn ang="0">
                    <a:pos x="T8" y="T9"/>
                  </a:cxn>
                </a:cxnLst>
                <a:rect l="0" t="0" r="r" b="b"/>
                <a:pathLst>
                  <a:path w="356" h="281">
                    <a:moveTo>
                      <a:pt x="356" y="41"/>
                    </a:moveTo>
                    <a:lnTo>
                      <a:pt x="79" y="281"/>
                    </a:lnTo>
                    <a:lnTo>
                      <a:pt x="0" y="242"/>
                    </a:lnTo>
                    <a:lnTo>
                      <a:pt x="277" y="0"/>
                    </a:lnTo>
                    <a:lnTo>
                      <a:pt x="356" y="41"/>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 name="Group 17">
            <a:extLst>
              <a:ext uri="{FF2B5EF4-FFF2-40B4-BE49-F238E27FC236}">
                <a16:creationId xmlns:a16="http://schemas.microsoft.com/office/drawing/2014/main" id="{F90B7FE7-2896-46D5-89AC-C6277EFF0C45}"/>
              </a:ext>
            </a:extLst>
          </p:cNvPr>
          <p:cNvGrpSpPr>
            <a:grpSpLocks/>
          </p:cNvGrpSpPr>
          <p:nvPr userDrawn="1"/>
        </p:nvGrpSpPr>
        <p:grpSpPr>
          <a:xfrm>
            <a:off x="864303" y="2022368"/>
            <a:ext cx="2460625" cy="595312"/>
            <a:chOff x="4124325" y="3673475"/>
            <a:chExt cx="2460625" cy="595312"/>
          </a:xfrm>
        </p:grpSpPr>
        <p:sp>
          <p:nvSpPr>
            <p:cNvPr id="19" name="Freeform 44">
              <a:extLst>
                <a:ext uri="{FF2B5EF4-FFF2-40B4-BE49-F238E27FC236}">
                  <a16:creationId xmlns:a16="http://schemas.microsoft.com/office/drawing/2014/main" id="{BE1830D4-FF94-462A-906E-1DF71171EDFE}"/>
                </a:ext>
              </a:extLst>
            </p:cNvPr>
            <p:cNvSpPr>
              <a:spLocks noEditPoints="1"/>
            </p:cNvSpPr>
            <p:nvPr/>
          </p:nvSpPr>
          <p:spPr bwMode="auto">
            <a:xfrm>
              <a:off x="4124325" y="3673475"/>
              <a:ext cx="460375" cy="595312"/>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256 w 290"/>
                <a:gd name="T11" fmla="*/ 323 h 375"/>
                <a:gd name="T12" fmla="*/ 143 w 290"/>
                <a:gd name="T13" fmla="*/ 313 h 375"/>
                <a:gd name="T14" fmla="*/ 222 w 290"/>
                <a:gd name="T15" fmla="*/ 273 h 375"/>
                <a:gd name="T16" fmla="*/ 18 w 290"/>
                <a:gd name="T17" fmla="*/ 95 h 375"/>
                <a:gd name="T18" fmla="*/ 3 w 290"/>
                <a:gd name="T19" fmla="*/ 83 h 375"/>
                <a:gd name="T20" fmla="*/ 3 w 290"/>
                <a:gd name="T21" fmla="*/ 83 h 375"/>
                <a:gd name="T22" fmla="*/ 0 w 290"/>
                <a:gd name="T23" fmla="*/ 80 h 375"/>
                <a:gd name="T24" fmla="*/ 4 w 290"/>
                <a:gd name="T25" fmla="*/ 21 h 375"/>
                <a:gd name="T26" fmla="*/ 139 w 290"/>
                <a:gd name="T27" fmla="*/ 0 h 375"/>
                <a:gd name="T28" fmla="*/ 147 w 290"/>
                <a:gd name="T29" fmla="*/ 0 h 375"/>
                <a:gd name="T30" fmla="*/ 215 w 290"/>
                <a:gd name="T31" fmla="*/ 11 h 375"/>
                <a:gd name="T32" fmla="*/ 230 w 290"/>
                <a:gd name="T33" fmla="*/ 13 h 375"/>
                <a:gd name="T34" fmla="*/ 267 w 290"/>
                <a:gd name="T35" fmla="*/ 19 h 375"/>
                <a:gd name="T36" fmla="*/ 290 w 290"/>
                <a:gd name="T37" fmla="*/ 46 h 375"/>
                <a:gd name="T38" fmla="*/ 290 w 290"/>
                <a:gd name="T39" fmla="*/ 118 h 375"/>
                <a:gd name="T40" fmla="*/ 230 w 290"/>
                <a:gd name="T41" fmla="*/ 144 h 375"/>
                <a:gd name="T42" fmla="*/ 230 w 290"/>
                <a:gd name="T43" fmla="*/ 74 h 375"/>
                <a:gd name="T44" fmla="*/ 143 w 290"/>
                <a:gd name="T45" fmla="*/ 61 h 375"/>
                <a:gd name="T46" fmla="*/ 81 w 290"/>
                <a:gd name="T47" fmla="*/ 71 h 375"/>
                <a:gd name="T48" fmla="*/ 96 w 290"/>
                <a:gd name="T49" fmla="*/ 83 h 375"/>
                <a:gd name="T50" fmla="*/ 96 w 290"/>
                <a:gd name="T51" fmla="*/ 83 h 375"/>
                <a:gd name="T52" fmla="*/ 283 w 290"/>
                <a:gd name="T53" fmla="*/ 247 h 375"/>
                <a:gd name="T54" fmla="*/ 283 w 290"/>
                <a:gd name="T55" fmla="*/ 247 h 375"/>
                <a:gd name="T56" fmla="*/ 288 w 290"/>
                <a:gd name="T57" fmla="*/ 250 h 375"/>
                <a:gd name="T58" fmla="*/ 283 w 290"/>
                <a:gd name="T59" fmla="*/ 309 h 375"/>
                <a:gd name="T60" fmla="*/ 270 w 290"/>
                <a:gd name="T61" fmla="*/ 316 h 375"/>
                <a:gd name="T62" fmla="*/ 258 w 290"/>
                <a:gd name="T63" fmla="*/ 322 h 375"/>
                <a:gd name="T64" fmla="*/ 156 w 290"/>
                <a:gd name="T65" fmla="*/ 375 h 375"/>
                <a:gd name="T66" fmla="*/ 131 w 290"/>
                <a:gd name="T67" fmla="*/ 375 h 375"/>
                <a:gd name="T68" fmla="*/ 31 w 290"/>
                <a:gd name="T69" fmla="*/ 323 h 375"/>
                <a:gd name="T70" fmla="*/ 31 w 290"/>
                <a:gd name="T71" fmla="*/ 323 h 375"/>
                <a:gd name="T72" fmla="*/ 18 w 290"/>
                <a:gd name="T73" fmla="*/ 316 h 375"/>
                <a:gd name="T74" fmla="*/ 16 w 290"/>
                <a:gd name="T75" fmla="*/ 316 h 375"/>
                <a:gd name="T76" fmla="*/ 4 w 290"/>
                <a:gd name="T77" fmla="*/ 309 h 375"/>
                <a:gd name="T78" fmla="*/ 0 w 290"/>
                <a:gd name="T79" fmla="*/ 250 h 375"/>
                <a:gd name="T80" fmla="*/ 86 w 290"/>
                <a:gd name="T81" fmla="*/ 175 h 375"/>
                <a:gd name="T82" fmla="*/ 132 w 290"/>
                <a:gd name="T83" fmla="*/ 215 h 375"/>
                <a:gd name="T84" fmla="*/ 65 w 290"/>
                <a:gd name="T85" fmla="*/ 273 h 375"/>
                <a:gd name="T86" fmla="*/ 143 w 290"/>
                <a:gd name="T87"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 h="375">
                  <a:moveTo>
                    <a:pt x="230" y="13"/>
                  </a:moveTo>
                  <a:lnTo>
                    <a:pt x="230" y="13"/>
                  </a:lnTo>
                  <a:lnTo>
                    <a:pt x="230" y="13"/>
                  </a:lnTo>
                  <a:close/>
                  <a:moveTo>
                    <a:pt x="256" y="323"/>
                  </a:moveTo>
                  <a:lnTo>
                    <a:pt x="258" y="322"/>
                  </a:lnTo>
                  <a:lnTo>
                    <a:pt x="256" y="323"/>
                  </a:lnTo>
                  <a:close/>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close/>
                </a:path>
              </a:pathLst>
            </a:custGeom>
            <a:solidFill>
              <a:schemeClr val="bg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43">
              <a:extLst>
                <a:ext uri="{FF2B5EF4-FFF2-40B4-BE49-F238E27FC236}">
                  <a16:creationId xmlns:a16="http://schemas.microsoft.com/office/drawing/2014/main" id="{A9A81A51-71E4-4C37-A509-9F9309D4CB41}"/>
                </a:ext>
              </a:extLst>
            </p:cNvPr>
            <p:cNvSpPr>
              <a:spLocks noEditPoints="1"/>
            </p:cNvSpPr>
            <p:nvPr/>
          </p:nvSpPr>
          <p:spPr bwMode="auto">
            <a:xfrm>
              <a:off x="4854575" y="3830638"/>
              <a:ext cx="1730375" cy="282575"/>
            </a:xfrm>
            <a:custGeom>
              <a:avLst/>
              <a:gdLst>
                <a:gd name="T0" fmla="*/ 1399 w 1571"/>
                <a:gd name="T1" fmla="*/ 169 h 256"/>
                <a:gd name="T2" fmla="*/ 1505 w 1571"/>
                <a:gd name="T3" fmla="*/ 169 h 256"/>
                <a:gd name="T4" fmla="*/ 1471 w 1571"/>
                <a:gd name="T5" fmla="*/ 3 h 256"/>
                <a:gd name="T6" fmla="*/ 1333 w 1571"/>
                <a:gd name="T7" fmla="*/ 252 h 256"/>
                <a:gd name="T8" fmla="*/ 1390 w 1571"/>
                <a:gd name="T9" fmla="*/ 197 h 256"/>
                <a:gd name="T10" fmla="*/ 1536 w 1571"/>
                <a:gd name="T11" fmla="*/ 252 h 256"/>
                <a:gd name="T12" fmla="*/ 1208 w 1571"/>
                <a:gd name="T13" fmla="*/ 252 h 256"/>
                <a:gd name="T14" fmla="*/ 1287 w 1571"/>
                <a:gd name="T15" fmla="*/ 31 h 256"/>
                <a:gd name="T16" fmla="*/ 1098 w 1571"/>
                <a:gd name="T17" fmla="*/ 3 h 256"/>
                <a:gd name="T18" fmla="*/ 1177 w 1571"/>
                <a:gd name="T19" fmla="*/ 31 h 256"/>
                <a:gd name="T20" fmla="*/ 1208 w 1571"/>
                <a:gd name="T21" fmla="*/ 252 h 256"/>
                <a:gd name="T22" fmla="*/ 867 w 1571"/>
                <a:gd name="T23" fmla="*/ 126 h 256"/>
                <a:gd name="T24" fmla="*/ 933 w 1571"/>
                <a:gd name="T25" fmla="*/ 31 h 256"/>
                <a:gd name="T26" fmla="*/ 933 w 1571"/>
                <a:gd name="T27" fmla="*/ 126 h 256"/>
                <a:gd name="T28" fmla="*/ 950 w 1571"/>
                <a:gd name="T29" fmla="*/ 151 h 256"/>
                <a:gd name="T30" fmla="*/ 936 w 1571"/>
                <a:gd name="T31" fmla="*/ 3 h 256"/>
                <a:gd name="T32" fmla="*/ 836 w 1571"/>
                <a:gd name="T33" fmla="*/ 252 h 256"/>
                <a:gd name="T34" fmla="*/ 867 w 1571"/>
                <a:gd name="T35" fmla="*/ 153 h 256"/>
                <a:gd name="T36" fmla="*/ 980 w 1571"/>
                <a:gd name="T37" fmla="*/ 252 h 256"/>
                <a:gd name="T38" fmla="*/ 681 w 1571"/>
                <a:gd name="T39" fmla="*/ 169 h 256"/>
                <a:gd name="T40" fmla="*/ 629 w 1571"/>
                <a:gd name="T41" fmla="*/ 35 h 256"/>
                <a:gd name="T42" fmla="*/ 748 w 1571"/>
                <a:gd name="T43" fmla="*/ 252 h 256"/>
                <a:gd name="T44" fmla="*/ 609 w 1571"/>
                <a:gd name="T45" fmla="*/ 3 h 256"/>
                <a:gd name="T46" fmla="*/ 545 w 1571"/>
                <a:gd name="T47" fmla="*/ 252 h 256"/>
                <a:gd name="T48" fmla="*/ 691 w 1571"/>
                <a:gd name="T49" fmla="*/ 197 h 256"/>
                <a:gd name="T50" fmla="*/ 748 w 1571"/>
                <a:gd name="T51" fmla="*/ 252 h 256"/>
                <a:gd name="T52" fmla="*/ 320 w 1571"/>
                <a:gd name="T53" fmla="*/ 126 h 256"/>
                <a:gd name="T54" fmla="*/ 385 w 1571"/>
                <a:gd name="T55" fmla="*/ 31 h 256"/>
                <a:gd name="T56" fmla="*/ 385 w 1571"/>
                <a:gd name="T57" fmla="*/ 126 h 256"/>
                <a:gd name="T58" fmla="*/ 320 w 1571"/>
                <a:gd name="T59" fmla="*/ 153 h 256"/>
                <a:gd name="T60" fmla="*/ 467 w 1571"/>
                <a:gd name="T61" fmla="*/ 78 h 256"/>
                <a:gd name="T62" fmla="*/ 289 w 1571"/>
                <a:gd name="T63" fmla="*/ 3 h 256"/>
                <a:gd name="T64" fmla="*/ 320 w 1571"/>
                <a:gd name="T65" fmla="*/ 252 h 256"/>
                <a:gd name="T66" fmla="*/ 187 w 1571"/>
                <a:gd name="T67" fmla="*/ 183 h 256"/>
                <a:gd name="T68" fmla="*/ 91 w 1571"/>
                <a:gd name="T69" fmla="*/ 27 h 256"/>
                <a:gd name="T70" fmla="*/ 182 w 1571"/>
                <a:gd name="T71" fmla="*/ 34 h 256"/>
                <a:gd name="T72" fmla="*/ 8 w 1571"/>
                <a:gd name="T73" fmla="*/ 69 h 256"/>
                <a:gd name="T74" fmla="*/ 97 w 1571"/>
                <a:gd name="T75" fmla="*/ 229 h 256"/>
                <a:gd name="T76" fmla="*/ 0 w 1571"/>
                <a:gd name="T77" fmla="*/ 21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6">
                  <a:moveTo>
                    <a:pt x="1505" y="169"/>
                  </a:moveTo>
                  <a:cubicBezTo>
                    <a:pt x="1399" y="169"/>
                    <a:pt x="1399" y="169"/>
                    <a:pt x="1399" y="169"/>
                  </a:cubicBezTo>
                  <a:cubicBezTo>
                    <a:pt x="1452" y="35"/>
                    <a:pt x="1452" y="35"/>
                    <a:pt x="1452" y="35"/>
                  </a:cubicBezTo>
                  <a:lnTo>
                    <a:pt x="1505" y="169"/>
                  </a:lnTo>
                  <a:close/>
                  <a:moveTo>
                    <a:pt x="1571" y="252"/>
                  </a:moveTo>
                  <a:cubicBezTo>
                    <a:pt x="1471" y="3"/>
                    <a:pt x="1471" y="3"/>
                    <a:pt x="1471" y="3"/>
                  </a:cubicBezTo>
                  <a:cubicBezTo>
                    <a:pt x="1433" y="3"/>
                    <a:pt x="1433" y="3"/>
                    <a:pt x="1433" y="3"/>
                  </a:cubicBezTo>
                  <a:cubicBezTo>
                    <a:pt x="1333" y="252"/>
                    <a:pt x="1333" y="252"/>
                    <a:pt x="1333" y="252"/>
                  </a:cubicBezTo>
                  <a:cubicBezTo>
                    <a:pt x="1368" y="252"/>
                    <a:pt x="1368" y="252"/>
                    <a:pt x="1368" y="252"/>
                  </a:cubicBezTo>
                  <a:cubicBezTo>
                    <a:pt x="1390" y="197"/>
                    <a:pt x="1390" y="197"/>
                    <a:pt x="1390" y="197"/>
                  </a:cubicBezTo>
                  <a:cubicBezTo>
                    <a:pt x="1514" y="197"/>
                    <a:pt x="1514" y="197"/>
                    <a:pt x="1514" y="197"/>
                  </a:cubicBezTo>
                  <a:cubicBezTo>
                    <a:pt x="1536" y="252"/>
                    <a:pt x="1536" y="252"/>
                    <a:pt x="1536" y="252"/>
                  </a:cubicBezTo>
                  <a:lnTo>
                    <a:pt x="1571" y="252"/>
                  </a:lnTo>
                  <a:close/>
                  <a:moveTo>
                    <a:pt x="1208" y="252"/>
                  </a:moveTo>
                  <a:cubicBezTo>
                    <a:pt x="1208" y="31"/>
                    <a:pt x="1208" y="31"/>
                    <a:pt x="1208" y="31"/>
                  </a:cubicBezTo>
                  <a:cubicBezTo>
                    <a:pt x="1287" y="31"/>
                    <a:pt x="1287" y="31"/>
                    <a:pt x="1287" y="31"/>
                  </a:cubicBezTo>
                  <a:cubicBezTo>
                    <a:pt x="1287" y="3"/>
                    <a:pt x="1287" y="3"/>
                    <a:pt x="1287" y="3"/>
                  </a:cubicBezTo>
                  <a:cubicBezTo>
                    <a:pt x="1098" y="3"/>
                    <a:pt x="1098" y="3"/>
                    <a:pt x="1098" y="3"/>
                  </a:cubicBezTo>
                  <a:cubicBezTo>
                    <a:pt x="1098" y="31"/>
                    <a:pt x="1098" y="31"/>
                    <a:pt x="1098" y="31"/>
                  </a:cubicBezTo>
                  <a:cubicBezTo>
                    <a:pt x="1177" y="31"/>
                    <a:pt x="1177" y="31"/>
                    <a:pt x="1177" y="31"/>
                  </a:cubicBezTo>
                  <a:cubicBezTo>
                    <a:pt x="1177" y="252"/>
                    <a:pt x="1177" y="252"/>
                    <a:pt x="1177" y="252"/>
                  </a:cubicBezTo>
                  <a:lnTo>
                    <a:pt x="1208" y="252"/>
                  </a:lnTo>
                  <a:close/>
                  <a:moveTo>
                    <a:pt x="933" y="126"/>
                  </a:moveTo>
                  <a:cubicBezTo>
                    <a:pt x="867" y="126"/>
                    <a:pt x="867" y="126"/>
                    <a:pt x="867" y="126"/>
                  </a:cubicBezTo>
                  <a:cubicBezTo>
                    <a:pt x="867" y="31"/>
                    <a:pt x="867" y="31"/>
                    <a:pt x="867" y="31"/>
                  </a:cubicBezTo>
                  <a:cubicBezTo>
                    <a:pt x="933" y="31"/>
                    <a:pt x="933" y="31"/>
                    <a:pt x="933" y="31"/>
                  </a:cubicBezTo>
                  <a:cubicBezTo>
                    <a:pt x="962" y="31"/>
                    <a:pt x="982" y="50"/>
                    <a:pt x="982" y="78"/>
                  </a:cubicBezTo>
                  <a:cubicBezTo>
                    <a:pt x="982" y="106"/>
                    <a:pt x="962" y="126"/>
                    <a:pt x="933" y="126"/>
                  </a:cubicBezTo>
                  <a:close/>
                  <a:moveTo>
                    <a:pt x="1017" y="252"/>
                  </a:moveTo>
                  <a:cubicBezTo>
                    <a:pt x="950" y="151"/>
                    <a:pt x="950" y="151"/>
                    <a:pt x="950" y="151"/>
                  </a:cubicBezTo>
                  <a:cubicBezTo>
                    <a:pt x="984" y="148"/>
                    <a:pt x="1014" y="123"/>
                    <a:pt x="1014" y="78"/>
                  </a:cubicBezTo>
                  <a:cubicBezTo>
                    <a:pt x="1014" y="32"/>
                    <a:pt x="982" y="3"/>
                    <a:pt x="936" y="3"/>
                  </a:cubicBezTo>
                  <a:cubicBezTo>
                    <a:pt x="836" y="3"/>
                    <a:pt x="836" y="3"/>
                    <a:pt x="836" y="3"/>
                  </a:cubicBezTo>
                  <a:cubicBezTo>
                    <a:pt x="836" y="252"/>
                    <a:pt x="836" y="252"/>
                    <a:pt x="836" y="252"/>
                  </a:cubicBezTo>
                  <a:cubicBezTo>
                    <a:pt x="867" y="252"/>
                    <a:pt x="867" y="252"/>
                    <a:pt x="867" y="252"/>
                  </a:cubicBezTo>
                  <a:cubicBezTo>
                    <a:pt x="867" y="153"/>
                    <a:pt x="867" y="153"/>
                    <a:pt x="867" y="153"/>
                  </a:cubicBezTo>
                  <a:cubicBezTo>
                    <a:pt x="917" y="153"/>
                    <a:pt x="917" y="153"/>
                    <a:pt x="917" y="153"/>
                  </a:cubicBezTo>
                  <a:cubicBezTo>
                    <a:pt x="980" y="252"/>
                    <a:pt x="980" y="252"/>
                    <a:pt x="980" y="252"/>
                  </a:cubicBezTo>
                  <a:lnTo>
                    <a:pt x="1017" y="252"/>
                  </a:lnTo>
                  <a:close/>
                  <a:moveTo>
                    <a:pt x="681" y="169"/>
                  </a:moveTo>
                  <a:cubicBezTo>
                    <a:pt x="576" y="169"/>
                    <a:pt x="576" y="169"/>
                    <a:pt x="576" y="169"/>
                  </a:cubicBezTo>
                  <a:cubicBezTo>
                    <a:pt x="629" y="35"/>
                    <a:pt x="629" y="35"/>
                    <a:pt x="629" y="35"/>
                  </a:cubicBezTo>
                  <a:lnTo>
                    <a:pt x="681" y="169"/>
                  </a:lnTo>
                  <a:close/>
                  <a:moveTo>
                    <a:pt x="748" y="252"/>
                  </a:moveTo>
                  <a:cubicBezTo>
                    <a:pt x="648" y="3"/>
                    <a:pt x="648" y="3"/>
                    <a:pt x="648" y="3"/>
                  </a:cubicBezTo>
                  <a:cubicBezTo>
                    <a:pt x="609" y="3"/>
                    <a:pt x="609" y="3"/>
                    <a:pt x="609" y="3"/>
                  </a:cubicBezTo>
                  <a:cubicBezTo>
                    <a:pt x="510" y="252"/>
                    <a:pt x="510" y="252"/>
                    <a:pt x="510" y="252"/>
                  </a:cubicBezTo>
                  <a:cubicBezTo>
                    <a:pt x="545" y="252"/>
                    <a:pt x="545" y="252"/>
                    <a:pt x="545" y="252"/>
                  </a:cubicBezTo>
                  <a:cubicBezTo>
                    <a:pt x="567" y="197"/>
                    <a:pt x="567" y="197"/>
                    <a:pt x="567" y="197"/>
                  </a:cubicBezTo>
                  <a:cubicBezTo>
                    <a:pt x="691" y="197"/>
                    <a:pt x="691" y="197"/>
                    <a:pt x="691" y="197"/>
                  </a:cubicBezTo>
                  <a:cubicBezTo>
                    <a:pt x="713" y="252"/>
                    <a:pt x="713" y="252"/>
                    <a:pt x="713" y="252"/>
                  </a:cubicBezTo>
                  <a:lnTo>
                    <a:pt x="748" y="252"/>
                  </a:lnTo>
                  <a:close/>
                  <a:moveTo>
                    <a:pt x="385" y="126"/>
                  </a:moveTo>
                  <a:cubicBezTo>
                    <a:pt x="320" y="126"/>
                    <a:pt x="320" y="126"/>
                    <a:pt x="320" y="126"/>
                  </a:cubicBezTo>
                  <a:cubicBezTo>
                    <a:pt x="320" y="31"/>
                    <a:pt x="320" y="31"/>
                    <a:pt x="320" y="31"/>
                  </a:cubicBezTo>
                  <a:cubicBezTo>
                    <a:pt x="385" y="31"/>
                    <a:pt x="385" y="31"/>
                    <a:pt x="385" y="31"/>
                  </a:cubicBezTo>
                  <a:cubicBezTo>
                    <a:pt x="415" y="31"/>
                    <a:pt x="435" y="50"/>
                    <a:pt x="435" y="78"/>
                  </a:cubicBezTo>
                  <a:cubicBezTo>
                    <a:pt x="435" y="106"/>
                    <a:pt x="415" y="126"/>
                    <a:pt x="385" y="126"/>
                  </a:cubicBezTo>
                  <a:close/>
                  <a:moveTo>
                    <a:pt x="320" y="252"/>
                  </a:moveTo>
                  <a:cubicBezTo>
                    <a:pt x="320" y="153"/>
                    <a:pt x="320" y="153"/>
                    <a:pt x="320" y="153"/>
                  </a:cubicBezTo>
                  <a:cubicBezTo>
                    <a:pt x="389" y="153"/>
                    <a:pt x="389" y="153"/>
                    <a:pt x="389" y="153"/>
                  </a:cubicBezTo>
                  <a:cubicBezTo>
                    <a:pt x="438" y="153"/>
                    <a:pt x="467" y="119"/>
                    <a:pt x="467" y="78"/>
                  </a:cubicBezTo>
                  <a:cubicBezTo>
                    <a:pt x="467" y="38"/>
                    <a:pt x="439" y="3"/>
                    <a:pt x="389" y="3"/>
                  </a:cubicBezTo>
                  <a:cubicBezTo>
                    <a:pt x="289" y="3"/>
                    <a:pt x="289" y="3"/>
                    <a:pt x="289" y="3"/>
                  </a:cubicBezTo>
                  <a:cubicBezTo>
                    <a:pt x="289" y="252"/>
                    <a:pt x="289" y="252"/>
                    <a:pt x="289" y="252"/>
                  </a:cubicBezTo>
                  <a:lnTo>
                    <a:pt x="320" y="252"/>
                  </a:lnTo>
                  <a:close/>
                  <a:moveTo>
                    <a:pt x="96" y="256"/>
                  </a:moveTo>
                  <a:cubicBezTo>
                    <a:pt x="163" y="256"/>
                    <a:pt x="187" y="219"/>
                    <a:pt x="187" y="183"/>
                  </a:cubicBezTo>
                  <a:cubicBezTo>
                    <a:pt x="187" y="90"/>
                    <a:pt x="40" y="123"/>
                    <a:pt x="40" y="67"/>
                  </a:cubicBezTo>
                  <a:cubicBezTo>
                    <a:pt x="40" y="43"/>
                    <a:pt x="61" y="27"/>
                    <a:pt x="91" y="27"/>
                  </a:cubicBezTo>
                  <a:cubicBezTo>
                    <a:pt x="118" y="27"/>
                    <a:pt x="144" y="36"/>
                    <a:pt x="163" y="57"/>
                  </a:cubicBezTo>
                  <a:cubicBezTo>
                    <a:pt x="182" y="34"/>
                    <a:pt x="182" y="34"/>
                    <a:pt x="182" y="34"/>
                  </a:cubicBezTo>
                  <a:cubicBezTo>
                    <a:pt x="161" y="12"/>
                    <a:pt x="131" y="0"/>
                    <a:pt x="93" y="0"/>
                  </a:cubicBezTo>
                  <a:cubicBezTo>
                    <a:pt x="44" y="0"/>
                    <a:pt x="8" y="28"/>
                    <a:pt x="8" y="69"/>
                  </a:cubicBezTo>
                  <a:cubicBezTo>
                    <a:pt x="8" y="157"/>
                    <a:pt x="155" y="122"/>
                    <a:pt x="155" y="186"/>
                  </a:cubicBezTo>
                  <a:cubicBezTo>
                    <a:pt x="155" y="205"/>
                    <a:pt x="141" y="229"/>
                    <a:pt x="97" y="229"/>
                  </a:cubicBezTo>
                  <a:cubicBezTo>
                    <a:pt x="62" y="229"/>
                    <a:pt x="35" y="212"/>
                    <a:pt x="18" y="193"/>
                  </a:cubicBezTo>
                  <a:cubicBezTo>
                    <a:pt x="0" y="217"/>
                    <a:pt x="0" y="217"/>
                    <a:pt x="0" y="217"/>
                  </a:cubicBezTo>
                  <a:cubicBezTo>
                    <a:pt x="21" y="240"/>
                    <a:pt x="52" y="256"/>
                    <a:pt x="96" y="256"/>
                  </a:cubicBezTo>
                  <a:close/>
                </a:path>
              </a:pathLst>
            </a:custGeom>
            <a:solidFill>
              <a:schemeClr val="bg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5">
              <a:extLst>
                <a:ext uri="{FF2B5EF4-FFF2-40B4-BE49-F238E27FC236}">
                  <a16:creationId xmlns:a16="http://schemas.microsoft.com/office/drawing/2014/main" id="{B719455A-C011-44D7-8455-B246245BAB02}"/>
                </a:ext>
              </a:extLst>
            </p:cNvPr>
            <p:cNvSpPr>
              <a:spLocks noEditPoints="1"/>
            </p:cNvSpPr>
            <p:nvPr/>
          </p:nvSpPr>
          <p:spPr bwMode="auto">
            <a:xfrm>
              <a:off x="4124325" y="3673475"/>
              <a:ext cx="460375" cy="595312"/>
            </a:xfrm>
            <a:custGeom>
              <a:avLst/>
              <a:gdLst>
                <a:gd name="T0" fmla="*/ 230 w 290"/>
                <a:gd name="T1" fmla="*/ 13 h 375"/>
                <a:gd name="T2" fmla="*/ 230 w 290"/>
                <a:gd name="T3" fmla="*/ 13 h 375"/>
                <a:gd name="T4" fmla="*/ 230 w 290"/>
                <a:gd name="T5" fmla="*/ 13 h 375"/>
                <a:gd name="T6" fmla="*/ 256 w 290"/>
                <a:gd name="T7" fmla="*/ 323 h 375"/>
                <a:gd name="T8" fmla="*/ 258 w 290"/>
                <a:gd name="T9" fmla="*/ 322 h 375"/>
                <a:gd name="T10" fmla="*/ 143 w 290"/>
                <a:gd name="T11" fmla="*/ 313 h 375"/>
                <a:gd name="T12" fmla="*/ 222 w 290"/>
                <a:gd name="T13" fmla="*/ 273 h 375"/>
                <a:gd name="T14" fmla="*/ 18 w 290"/>
                <a:gd name="T15" fmla="*/ 95 h 375"/>
                <a:gd name="T16" fmla="*/ 3 w 290"/>
                <a:gd name="T17" fmla="*/ 83 h 375"/>
                <a:gd name="T18" fmla="*/ 3 w 290"/>
                <a:gd name="T19" fmla="*/ 83 h 375"/>
                <a:gd name="T20" fmla="*/ 0 w 290"/>
                <a:gd name="T21" fmla="*/ 80 h 375"/>
                <a:gd name="T22" fmla="*/ 4 w 290"/>
                <a:gd name="T23" fmla="*/ 21 h 375"/>
                <a:gd name="T24" fmla="*/ 139 w 290"/>
                <a:gd name="T25" fmla="*/ 0 h 375"/>
                <a:gd name="T26" fmla="*/ 147 w 290"/>
                <a:gd name="T27" fmla="*/ 0 h 375"/>
                <a:gd name="T28" fmla="*/ 215 w 290"/>
                <a:gd name="T29" fmla="*/ 11 h 375"/>
                <a:gd name="T30" fmla="*/ 230 w 290"/>
                <a:gd name="T31" fmla="*/ 13 h 375"/>
                <a:gd name="T32" fmla="*/ 267 w 290"/>
                <a:gd name="T33" fmla="*/ 19 h 375"/>
                <a:gd name="T34" fmla="*/ 290 w 290"/>
                <a:gd name="T35" fmla="*/ 46 h 375"/>
                <a:gd name="T36" fmla="*/ 290 w 290"/>
                <a:gd name="T37" fmla="*/ 118 h 375"/>
                <a:gd name="T38" fmla="*/ 230 w 290"/>
                <a:gd name="T39" fmla="*/ 144 h 375"/>
                <a:gd name="T40" fmla="*/ 230 w 290"/>
                <a:gd name="T41" fmla="*/ 74 h 375"/>
                <a:gd name="T42" fmla="*/ 143 w 290"/>
                <a:gd name="T43" fmla="*/ 61 h 375"/>
                <a:gd name="T44" fmla="*/ 81 w 290"/>
                <a:gd name="T45" fmla="*/ 71 h 375"/>
                <a:gd name="T46" fmla="*/ 96 w 290"/>
                <a:gd name="T47" fmla="*/ 83 h 375"/>
                <a:gd name="T48" fmla="*/ 96 w 290"/>
                <a:gd name="T49" fmla="*/ 83 h 375"/>
                <a:gd name="T50" fmla="*/ 283 w 290"/>
                <a:gd name="T51" fmla="*/ 247 h 375"/>
                <a:gd name="T52" fmla="*/ 283 w 290"/>
                <a:gd name="T53" fmla="*/ 247 h 375"/>
                <a:gd name="T54" fmla="*/ 288 w 290"/>
                <a:gd name="T55" fmla="*/ 250 h 375"/>
                <a:gd name="T56" fmla="*/ 283 w 290"/>
                <a:gd name="T57" fmla="*/ 309 h 375"/>
                <a:gd name="T58" fmla="*/ 270 w 290"/>
                <a:gd name="T59" fmla="*/ 316 h 375"/>
                <a:gd name="T60" fmla="*/ 258 w 290"/>
                <a:gd name="T61" fmla="*/ 322 h 375"/>
                <a:gd name="T62" fmla="*/ 156 w 290"/>
                <a:gd name="T63" fmla="*/ 375 h 375"/>
                <a:gd name="T64" fmla="*/ 131 w 290"/>
                <a:gd name="T65" fmla="*/ 375 h 375"/>
                <a:gd name="T66" fmla="*/ 31 w 290"/>
                <a:gd name="T67" fmla="*/ 323 h 375"/>
                <a:gd name="T68" fmla="*/ 31 w 290"/>
                <a:gd name="T69" fmla="*/ 323 h 375"/>
                <a:gd name="T70" fmla="*/ 18 w 290"/>
                <a:gd name="T71" fmla="*/ 316 h 375"/>
                <a:gd name="T72" fmla="*/ 16 w 290"/>
                <a:gd name="T73" fmla="*/ 316 h 375"/>
                <a:gd name="T74" fmla="*/ 4 w 290"/>
                <a:gd name="T75" fmla="*/ 309 h 375"/>
                <a:gd name="T76" fmla="*/ 0 w 290"/>
                <a:gd name="T77" fmla="*/ 250 h 375"/>
                <a:gd name="T78" fmla="*/ 86 w 290"/>
                <a:gd name="T79" fmla="*/ 175 h 375"/>
                <a:gd name="T80" fmla="*/ 132 w 290"/>
                <a:gd name="T81" fmla="*/ 215 h 375"/>
                <a:gd name="T82" fmla="*/ 65 w 290"/>
                <a:gd name="T83" fmla="*/ 273 h 375"/>
                <a:gd name="T84" fmla="*/ 143 w 290"/>
                <a:gd name="T85" fmla="*/ 31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0" h="375">
                  <a:moveTo>
                    <a:pt x="230" y="13"/>
                  </a:moveTo>
                  <a:lnTo>
                    <a:pt x="230" y="13"/>
                  </a:lnTo>
                  <a:lnTo>
                    <a:pt x="230" y="13"/>
                  </a:lnTo>
                  <a:moveTo>
                    <a:pt x="256" y="323"/>
                  </a:moveTo>
                  <a:lnTo>
                    <a:pt x="258" y="322"/>
                  </a:lnTo>
                  <a:moveTo>
                    <a:pt x="143" y="313"/>
                  </a:moveTo>
                  <a:lnTo>
                    <a:pt x="222" y="273"/>
                  </a:lnTo>
                  <a:lnTo>
                    <a:pt x="18" y="95"/>
                  </a:lnTo>
                  <a:lnTo>
                    <a:pt x="3" y="83"/>
                  </a:lnTo>
                  <a:lnTo>
                    <a:pt x="3" y="83"/>
                  </a:lnTo>
                  <a:lnTo>
                    <a:pt x="0" y="80"/>
                  </a:lnTo>
                  <a:lnTo>
                    <a:pt x="4" y="21"/>
                  </a:lnTo>
                  <a:lnTo>
                    <a:pt x="139" y="0"/>
                  </a:lnTo>
                  <a:lnTo>
                    <a:pt x="147" y="0"/>
                  </a:lnTo>
                  <a:lnTo>
                    <a:pt x="215" y="11"/>
                  </a:lnTo>
                  <a:lnTo>
                    <a:pt x="230" y="13"/>
                  </a:lnTo>
                  <a:lnTo>
                    <a:pt x="267" y="19"/>
                  </a:lnTo>
                  <a:lnTo>
                    <a:pt x="290" y="46"/>
                  </a:lnTo>
                  <a:lnTo>
                    <a:pt x="290" y="118"/>
                  </a:lnTo>
                  <a:lnTo>
                    <a:pt x="230" y="144"/>
                  </a:lnTo>
                  <a:lnTo>
                    <a:pt x="230" y="74"/>
                  </a:lnTo>
                  <a:lnTo>
                    <a:pt x="143" y="61"/>
                  </a:lnTo>
                  <a:lnTo>
                    <a:pt x="81" y="71"/>
                  </a:lnTo>
                  <a:lnTo>
                    <a:pt x="96" y="83"/>
                  </a:lnTo>
                  <a:lnTo>
                    <a:pt x="96" y="83"/>
                  </a:lnTo>
                  <a:lnTo>
                    <a:pt x="283" y="247"/>
                  </a:lnTo>
                  <a:lnTo>
                    <a:pt x="283" y="247"/>
                  </a:lnTo>
                  <a:lnTo>
                    <a:pt x="288" y="250"/>
                  </a:lnTo>
                  <a:lnTo>
                    <a:pt x="283" y="309"/>
                  </a:lnTo>
                  <a:lnTo>
                    <a:pt x="270" y="316"/>
                  </a:lnTo>
                  <a:lnTo>
                    <a:pt x="258" y="322"/>
                  </a:lnTo>
                  <a:lnTo>
                    <a:pt x="156" y="375"/>
                  </a:lnTo>
                  <a:lnTo>
                    <a:pt x="131" y="375"/>
                  </a:lnTo>
                  <a:lnTo>
                    <a:pt x="31" y="323"/>
                  </a:lnTo>
                  <a:lnTo>
                    <a:pt x="31" y="323"/>
                  </a:lnTo>
                  <a:lnTo>
                    <a:pt x="18" y="316"/>
                  </a:lnTo>
                  <a:lnTo>
                    <a:pt x="16" y="316"/>
                  </a:lnTo>
                  <a:lnTo>
                    <a:pt x="4" y="309"/>
                  </a:lnTo>
                  <a:lnTo>
                    <a:pt x="0" y="250"/>
                  </a:lnTo>
                  <a:lnTo>
                    <a:pt x="86" y="175"/>
                  </a:lnTo>
                  <a:lnTo>
                    <a:pt x="132" y="215"/>
                  </a:lnTo>
                  <a:lnTo>
                    <a:pt x="65" y="273"/>
                  </a:lnTo>
                  <a:lnTo>
                    <a:pt x="143" y="313"/>
                  </a:lnTo>
                </a:path>
              </a:pathLst>
            </a:custGeom>
            <a:solidFill>
              <a:schemeClr val="bg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 name="Title 1">
            <a:extLst>
              <a:ext uri="{FF2B5EF4-FFF2-40B4-BE49-F238E27FC236}">
                <a16:creationId xmlns:a16="http://schemas.microsoft.com/office/drawing/2014/main" id="{7380560F-DC34-4BDD-8E04-6CF0D44F7C14}"/>
              </a:ext>
            </a:extLst>
          </p:cNvPr>
          <p:cNvSpPr>
            <a:spLocks noGrp="1"/>
          </p:cNvSpPr>
          <p:nvPr>
            <p:ph type="title"/>
          </p:nvPr>
        </p:nvSpPr>
        <p:spPr>
          <a:xfrm>
            <a:off x="864303" y="2805574"/>
            <a:ext cx="5925219" cy="1212448"/>
          </a:xfrm>
        </p:spPr>
        <p:txBody>
          <a:bodyPr anchor="ctr"/>
          <a:lstStyle>
            <a:lvl1pPr>
              <a:defRPr sz="4000" b="0">
                <a:solidFill>
                  <a:schemeClr val="bg1"/>
                </a:solidFill>
                <a:latin typeface="+mn-lt"/>
              </a:defRPr>
            </a:lvl1pPr>
          </a:lstStyle>
          <a:p>
            <a:r>
              <a:rPr lang="en-US" dirty="0"/>
              <a:t>Click to edit Master title style</a:t>
            </a:r>
          </a:p>
        </p:txBody>
      </p:sp>
      <p:sp>
        <p:nvSpPr>
          <p:cNvPr id="26" name="Text Placeholder 31">
            <a:extLst>
              <a:ext uri="{FF2B5EF4-FFF2-40B4-BE49-F238E27FC236}">
                <a16:creationId xmlns:a16="http://schemas.microsoft.com/office/drawing/2014/main" id="{16F84A79-3E28-4CB8-85D6-4FE1E95EB96F}"/>
              </a:ext>
            </a:extLst>
          </p:cNvPr>
          <p:cNvSpPr>
            <a:spLocks noGrp="1"/>
          </p:cNvSpPr>
          <p:nvPr>
            <p:ph type="body" sz="quarter" idx="10"/>
          </p:nvPr>
        </p:nvSpPr>
        <p:spPr>
          <a:xfrm>
            <a:off x="864303" y="4000475"/>
            <a:ext cx="5925219" cy="707886"/>
          </a:xfrm>
        </p:spPr>
        <p:txBody>
          <a:bodyPr>
            <a:normAutofit/>
          </a:bodyPr>
          <a:lstStyle>
            <a:lvl1pPr marL="0" indent="0">
              <a:buNone/>
              <a:defRPr sz="2000">
                <a:solidFill>
                  <a:schemeClr val="bg1"/>
                </a:solidFill>
              </a:defRPr>
            </a:lvl1pPr>
            <a:lvl2pPr>
              <a:defRPr sz="1800"/>
            </a:lvl2pPr>
          </a:lstStyle>
          <a:p>
            <a:pPr lvl="0"/>
            <a:r>
              <a:rPr lang="en-US" dirty="0"/>
              <a:t>Edit Master text styles</a:t>
            </a:r>
          </a:p>
        </p:txBody>
      </p:sp>
      <p:pic>
        <p:nvPicPr>
          <p:cNvPr id="30" name="Picture 2" descr="https://europa.eu/european-union/sites/europaeu/files/docs/body/flag_white_low.jpg">
            <a:extLst>
              <a:ext uri="{FF2B5EF4-FFF2-40B4-BE49-F238E27FC236}">
                <a16:creationId xmlns:a16="http://schemas.microsoft.com/office/drawing/2014/main" id="{4F1825E8-C0D4-403E-B9A9-EDA9BFD78D3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2712" y="6064527"/>
            <a:ext cx="777756" cy="52033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Placeholder 3">
            <a:extLst>
              <a:ext uri="{FF2B5EF4-FFF2-40B4-BE49-F238E27FC236}">
                <a16:creationId xmlns:a16="http://schemas.microsoft.com/office/drawing/2014/main" id="{D127E732-7015-4D0C-8CBC-3DCFB934788B}"/>
              </a:ext>
            </a:extLst>
          </p:cNvPr>
          <p:cNvSpPr txBox="1">
            <a:spLocks/>
          </p:cNvSpPr>
          <p:nvPr userDrawn="1"/>
        </p:nvSpPr>
        <p:spPr>
          <a:xfrm>
            <a:off x="1594553" y="6061637"/>
            <a:ext cx="6282880" cy="520330"/>
          </a:xfrm>
          <a:prstGeom prst="rect">
            <a:avLst/>
          </a:prstGeom>
        </p:spPr>
        <p:txBody>
          <a:bodyPr vert="horz" lIns="0" tIns="0" rIns="0" bIns="0" rtlCol="0" anchor="ctr">
            <a:normAutofit/>
          </a:bodyPr>
          <a:lstStyle>
            <a:lvl1pPr marL="0" indent="0" algn="l" defTabSz="914400" rtl="0" eaLnBrk="1" latinLnBrk="0" hangingPunct="1">
              <a:lnSpc>
                <a:spcPct val="100000"/>
              </a:lnSpc>
              <a:spcBef>
                <a:spcPts val="0"/>
              </a:spcBef>
              <a:spcAft>
                <a:spcPts val="600"/>
              </a:spcAft>
              <a:buClr>
                <a:schemeClr val="accent1"/>
              </a:buClr>
              <a:buFont typeface="Wingdings 3" panose="05040102010807070707" pitchFamily="18" charset="2"/>
              <a:buNone/>
              <a:defRPr lang="en-US" sz="1400" i="1" kern="1200">
                <a:solidFill>
                  <a:schemeClr val="bg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8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BC2026"/>
              </a:buClr>
              <a:buSzTx/>
              <a:buFont typeface="Wingdings 3" panose="05040102010807070707" pitchFamily="18" charset="2"/>
              <a:buNone/>
              <a:tabLst/>
              <a:defRPr/>
            </a:pPr>
            <a:r>
              <a:rPr kumimoji="0" lang="en-US" sz="1400" b="0" i="1" u="none" strike="noStrike" kern="1200" cap="none" spc="0" normalizeH="0" baseline="0" noProof="0" dirty="0">
                <a:ln>
                  <a:noFill/>
                </a:ln>
                <a:solidFill>
                  <a:sysClr val="window" lastClr="FFFFFF"/>
                </a:solidFill>
                <a:effectLst/>
                <a:uLnTx/>
                <a:uFillTx/>
                <a:latin typeface="Arial"/>
              </a:rPr>
              <a:t>This project has received funding from the European Union's Horizon 2020 research and innovation </a:t>
            </a:r>
            <a:r>
              <a:rPr kumimoji="0" lang="en-US" sz="1400" b="0" i="1" u="none" strike="noStrike" kern="1200" cap="none" spc="0" normalizeH="0" baseline="0" noProof="0" dirty="0" err="1">
                <a:ln>
                  <a:noFill/>
                </a:ln>
                <a:solidFill>
                  <a:sysClr val="window" lastClr="FFFFFF"/>
                </a:solidFill>
                <a:effectLst/>
                <a:uLnTx/>
                <a:uFillTx/>
                <a:latin typeface="Arial"/>
              </a:rPr>
              <a:t>programme</a:t>
            </a:r>
            <a:r>
              <a:rPr kumimoji="0" lang="en-US" sz="1400" b="0" i="1" u="none" strike="noStrike" kern="1200" cap="none" spc="0" normalizeH="0" baseline="0" noProof="0" dirty="0">
                <a:ln>
                  <a:noFill/>
                </a:ln>
                <a:solidFill>
                  <a:sysClr val="window" lastClr="FFFFFF"/>
                </a:solidFill>
                <a:effectLst/>
                <a:uLnTx/>
                <a:uFillTx/>
                <a:latin typeface="Arial"/>
              </a:rPr>
              <a:t> under grant agreement No 830892</a:t>
            </a:r>
          </a:p>
        </p:txBody>
      </p:sp>
    </p:spTree>
    <p:extLst>
      <p:ext uri="{BB962C8B-B14F-4D97-AF65-F5344CB8AC3E}">
        <p14:creationId xmlns:p14="http://schemas.microsoft.com/office/powerpoint/2010/main" val="22347490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hank you 3">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D29D8B-DC8D-4ECD-9D87-A006043AF264}"/>
              </a:ext>
            </a:extLst>
          </p:cNvPr>
          <p:cNvSpPr/>
          <p:nvPr userDrawn="1"/>
        </p:nvSpPr>
        <p:spPr>
          <a:xfrm>
            <a:off x="-7199" y="0"/>
            <a:ext cx="12192000"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nvGrpSpPr>
          <p:cNvPr id="8" name="Group 7">
            <a:extLst>
              <a:ext uri="{FF2B5EF4-FFF2-40B4-BE49-F238E27FC236}">
                <a16:creationId xmlns:a16="http://schemas.microsoft.com/office/drawing/2014/main" id="{0F56C1A6-03DA-470A-8F07-72DB832C302F}"/>
              </a:ext>
            </a:extLst>
          </p:cNvPr>
          <p:cNvGrpSpPr/>
          <p:nvPr userDrawn="1"/>
        </p:nvGrpSpPr>
        <p:grpSpPr>
          <a:xfrm>
            <a:off x="3080012" y="4041034"/>
            <a:ext cx="792000" cy="792000"/>
            <a:chOff x="3119602" y="4650724"/>
            <a:chExt cx="792000" cy="792000"/>
          </a:xfrm>
        </p:grpSpPr>
        <p:sp>
          <p:nvSpPr>
            <p:cNvPr id="9" name="Freeform 19">
              <a:extLst>
                <a:ext uri="{FF2B5EF4-FFF2-40B4-BE49-F238E27FC236}">
                  <a16:creationId xmlns:a16="http://schemas.microsoft.com/office/drawing/2014/main" id="{FBE06F73-3653-47FE-9106-49B7424F35A2}"/>
                </a:ext>
              </a:extLst>
            </p:cNvPr>
            <p:cNvSpPr>
              <a:spLocks noEditPoints="1"/>
            </p:cNvSpPr>
            <p:nvPr/>
          </p:nvSpPr>
          <p:spPr bwMode="auto">
            <a:xfrm>
              <a:off x="3334572" y="4866665"/>
              <a:ext cx="362060" cy="360119"/>
            </a:xfrm>
            <a:custGeom>
              <a:avLst/>
              <a:gdLst>
                <a:gd name="T0" fmla="*/ 2029 w 3359"/>
                <a:gd name="T1" fmla="*/ 3060 h 3341"/>
                <a:gd name="T2" fmla="*/ 2343 w 3359"/>
                <a:gd name="T3" fmla="*/ 3079 h 3341"/>
                <a:gd name="T4" fmla="*/ 2714 w 3359"/>
                <a:gd name="T5" fmla="*/ 2704 h 3341"/>
                <a:gd name="T6" fmla="*/ 817 w 3359"/>
                <a:gd name="T7" fmla="*/ 2613 h 3341"/>
                <a:gd name="T8" fmla="*/ 852 w 3359"/>
                <a:gd name="T9" fmla="*/ 2989 h 3341"/>
                <a:gd name="T10" fmla="*/ 1476 w 3359"/>
                <a:gd name="T11" fmla="*/ 3212 h 3341"/>
                <a:gd name="T12" fmla="*/ 1041 w 3359"/>
                <a:gd name="T13" fmla="*/ 2632 h 3341"/>
                <a:gd name="T14" fmla="*/ 2034 w 3359"/>
                <a:gd name="T15" fmla="*/ 2871 h 3341"/>
                <a:gd name="T16" fmla="*/ 1947 w 3359"/>
                <a:gd name="T17" fmla="*/ 2438 h 3341"/>
                <a:gd name="T18" fmla="*/ 1208 w 3359"/>
                <a:gd name="T19" fmla="*/ 2476 h 3341"/>
                <a:gd name="T20" fmla="*/ 1465 w 3359"/>
                <a:gd name="T21" fmla="*/ 3037 h 3341"/>
                <a:gd name="T22" fmla="*/ 2515 w 3359"/>
                <a:gd name="T23" fmla="*/ 2038 h 3341"/>
                <a:gd name="T24" fmla="*/ 2695 w 3359"/>
                <a:gd name="T25" fmla="*/ 2561 h 3341"/>
                <a:gd name="T26" fmla="*/ 3118 w 3359"/>
                <a:gd name="T27" fmla="*/ 2280 h 3341"/>
                <a:gd name="T28" fmla="*/ 2547 w 3359"/>
                <a:gd name="T29" fmla="*/ 1728 h 3341"/>
                <a:gd name="T30" fmla="*/ 2297 w 3359"/>
                <a:gd name="T31" fmla="*/ 2395 h 3341"/>
                <a:gd name="T32" fmla="*/ 1737 w 3359"/>
                <a:gd name="T33" fmla="*/ 1728 h 3341"/>
                <a:gd name="T34" fmla="*/ 1062 w 3359"/>
                <a:gd name="T35" fmla="*/ 2395 h 3341"/>
                <a:gd name="T36" fmla="*/ 929 w 3359"/>
                <a:gd name="T37" fmla="*/ 1728 h 3341"/>
                <a:gd name="T38" fmla="*/ 241 w 3359"/>
                <a:gd name="T39" fmla="*/ 2280 h 3341"/>
                <a:gd name="T40" fmla="*/ 664 w 3359"/>
                <a:gd name="T41" fmla="*/ 2561 h 3341"/>
                <a:gd name="T42" fmla="*/ 843 w 3359"/>
                <a:gd name="T43" fmla="*/ 2038 h 3341"/>
                <a:gd name="T44" fmla="*/ 2065 w 3359"/>
                <a:gd name="T45" fmla="*/ 944 h 3341"/>
                <a:gd name="T46" fmla="*/ 2414 w 3359"/>
                <a:gd name="T47" fmla="*/ 1400 h 3341"/>
                <a:gd name="T48" fmla="*/ 1046 w 3359"/>
                <a:gd name="T49" fmla="*/ 992 h 3341"/>
                <a:gd name="T50" fmla="*/ 1621 w 3359"/>
                <a:gd name="T51" fmla="*/ 1613 h 3341"/>
                <a:gd name="T52" fmla="*/ 2845 w 3359"/>
                <a:gd name="T53" fmla="*/ 636 h 3341"/>
                <a:gd name="T54" fmla="*/ 2461 w 3359"/>
                <a:gd name="T55" fmla="*/ 1066 h 3341"/>
                <a:gd name="T56" fmla="*/ 3235 w 3359"/>
                <a:gd name="T57" fmla="*/ 1511 h 3341"/>
                <a:gd name="T58" fmla="*/ 3018 w 3359"/>
                <a:gd name="T59" fmla="*/ 866 h 3341"/>
                <a:gd name="T60" fmla="*/ 342 w 3359"/>
                <a:gd name="T61" fmla="*/ 866 h 3341"/>
                <a:gd name="T62" fmla="*/ 125 w 3359"/>
                <a:gd name="T63" fmla="*/ 1511 h 3341"/>
                <a:gd name="T64" fmla="*/ 899 w 3359"/>
                <a:gd name="T65" fmla="*/ 1066 h 3341"/>
                <a:gd name="T66" fmla="*/ 515 w 3359"/>
                <a:gd name="T67" fmla="*/ 636 h 3341"/>
                <a:gd name="T68" fmla="*/ 2228 w 3359"/>
                <a:gd name="T69" fmla="*/ 789 h 3341"/>
                <a:gd name="T70" fmla="*/ 1813 w 3359"/>
                <a:gd name="T71" fmla="*/ 222 h 3341"/>
                <a:gd name="T72" fmla="*/ 1283 w 3359"/>
                <a:gd name="T73" fmla="*/ 529 h 3341"/>
                <a:gd name="T74" fmla="*/ 1521 w 3359"/>
                <a:gd name="T75" fmla="*/ 857 h 3341"/>
                <a:gd name="T76" fmla="*/ 2174 w 3359"/>
                <a:gd name="T77" fmla="*/ 467 h 3341"/>
                <a:gd name="T78" fmla="*/ 2682 w 3359"/>
                <a:gd name="T79" fmla="*/ 599 h 3341"/>
                <a:gd name="T80" fmla="*/ 2322 w 3359"/>
                <a:gd name="T81" fmla="*/ 253 h 3341"/>
                <a:gd name="T82" fmla="*/ 1385 w 3359"/>
                <a:gd name="T83" fmla="*/ 143 h 3341"/>
                <a:gd name="T84" fmla="*/ 803 w 3359"/>
                <a:gd name="T85" fmla="*/ 383 h 3341"/>
                <a:gd name="T86" fmla="*/ 932 w 3359"/>
                <a:gd name="T87" fmla="*/ 720 h 3341"/>
                <a:gd name="T88" fmla="*/ 1396 w 3359"/>
                <a:gd name="T89" fmla="*/ 208 h 3341"/>
                <a:gd name="T90" fmla="*/ 2047 w 3359"/>
                <a:gd name="T91" fmla="*/ 41 h 3341"/>
                <a:gd name="T92" fmla="*/ 2681 w 3359"/>
                <a:gd name="T93" fmla="*/ 331 h 3341"/>
                <a:gd name="T94" fmla="*/ 3081 w 3359"/>
                <a:gd name="T95" fmla="*/ 751 h 3341"/>
                <a:gd name="T96" fmla="*/ 3332 w 3359"/>
                <a:gd name="T97" fmla="*/ 1372 h 3341"/>
                <a:gd name="T98" fmla="*/ 3308 w 3359"/>
                <a:gd name="T99" fmla="*/ 2081 h 3341"/>
                <a:gd name="T100" fmla="*/ 3000 w 3359"/>
                <a:gd name="T101" fmla="*/ 2702 h 3341"/>
                <a:gd name="T102" fmla="*/ 2867 w 3359"/>
                <a:gd name="T103" fmla="*/ 2851 h 3341"/>
                <a:gd name="T104" fmla="*/ 2314 w 3359"/>
                <a:gd name="T105" fmla="*/ 3217 h 3341"/>
                <a:gd name="T106" fmla="*/ 1737 w 3359"/>
                <a:gd name="T107" fmla="*/ 3340 h 3341"/>
                <a:gd name="T108" fmla="*/ 1325 w 3359"/>
                <a:gd name="T109" fmla="*/ 3303 h 3341"/>
                <a:gd name="T110" fmla="*/ 712 w 3359"/>
                <a:gd name="T111" fmla="*/ 3034 h 3341"/>
                <a:gd name="T112" fmla="*/ 424 w 3359"/>
                <a:gd name="T113" fmla="*/ 2778 h 3341"/>
                <a:gd name="T114" fmla="*/ 114 w 3359"/>
                <a:gd name="T115" fmla="*/ 2273 h 3341"/>
                <a:gd name="T116" fmla="*/ 3 w 3359"/>
                <a:gd name="T117" fmla="*/ 1570 h 3341"/>
                <a:gd name="T118" fmla="*/ 182 w 3359"/>
                <a:gd name="T119" fmla="*/ 915 h 3341"/>
                <a:gd name="T120" fmla="*/ 457 w 3359"/>
                <a:gd name="T121" fmla="*/ 527 h 3341"/>
                <a:gd name="T122" fmla="*/ 1023 w 3359"/>
                <a:gd name="T123" fmla="*/ 134 h 3341"/>
                <a:gd name="T124" fmla="*/ 1654 w 3359"/>
                <a:gd name="T125" fmla="*/ 1 h 3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59" h="3341">
                  <a:moveTo>
                    <a:pt x="2363" y="2539"/>
                  </a:moveTo>
                  <a:lnTo>
                    <a:pt x="2318" y="2632"/>
                  </a:lnTo>
                  <a:lnTo>
                    <a:pt x="2269" y="2723"/>
                  </a:lnTo>
                  <a:lnTo>
                    <a:pt x="2215" y="2811"/>
                  </a:lnTo>
                  <a:lnTo>
                    <a:pt x="2157" y="2897"/>
                  </a:lnTo>
                  <a:lnTo>
                    <a:pt x="2095" y="2980"/>
                  </a:lnTo>
                  <a:lnTo>
                    <a:pt x="2029" y="3060"/>
                  </a:lnTo>
                  <a:lnTo>
                    <a:pt x="1958" y="3138"/>
                  </a:lnTo>
                  <a:lnTo>
                    <a:pt x="1884" y="3212"/>
                  </a:lnTo>
                  <a:lnTo>
                    <a:pt x="1979" y="3196"/>
                  </a:lnTo>
                  <a:lnTo>
                    <a:pt x="2074" y="3175"/>
                  </a:lnTo>
                  <a:lnTo>
                    <a:pt x="2166" y="3148"/>
                  </a:lnTo>
                  <a:lnTo>
                    <a:pt x="2255" y="3117"/>
                  </a:lnTo>
                  <a:lnTo>
                    <a:pt x="2343" y="3079"/>
                  </a:lnTo>
                  <a:lnTo>
                    <a:pt x="2426" y="3036"/>
                  </a:lnTo>
                  <a:lnTo>
                    <a:pt x="2507" y="2989"/>
                  </a:lnTo>
                  <a:lnTo>
                    <a:pt x="2585" y="2938"/>
                  </a:lnTo>
                  <a:lnTo>
                    <a:pt x="2660" y="2881"/>
                  </a:lnTo>
                  <a:lnTo>
                    <a:pt x="2731" y="2820"/>
                  </a:lnTo>
                  <a:lnTo>
                    <a:pt x="2798" y="2756"/>
                  </a:lnTo>
                  <a:lnTo>
                    <a:pt x="2714" y="2704"/>
                  </a:lnTo>
                  <a:lnTo>
                    <a:pt x="2629" y="2656"/>
                  </a:lnTo>
                  <a:lnTo>
                    <a:pt x="2542" y="2613"/>
                  </a:lnTo>
                  <a:lnTo>
                    <a:pt x="2453" y="2573"/>
                  </a:lnTo>
                  <a:lnTo>
                    <a:pt x="2363" y="2539"/>
                  </a:lnTo>
                  <a:close/>
                  <a:moveTo>
                    <a:pt x="997" y="2539"/>
                  </a:moveTo>
                  <a:lnTo>
                    <a:pt x="907" y="2573"/>
                  </a:lnTo>
                  <a:lnTo>
                    <a:pt x="817" y="2613"/>
                  </a:lnTo>
                  <a:lnTo>
                    <a:pt x="730" y="2656"/>
                  </a:lnTo>
                  <a:lnTo>
                    <a:pt x="644" y="2704"/>
                  </a:lnTo>
                  <a:lnTo>
                    <a:pt x="561" y="2756"/>
                  </a:lnTo>
                  <a:lnTo>
                    <a:pt x="629" y="2820"/>
                  </a:lnTo>
                  <a:lnTo>
                    <a:pt x="700" y="2881"/>
                  </a:lnTo>
                  <a:lnTo>
                    <a:pt x="774" y="2938"/>
                  </a:lnTo>
                  <a:lnTo>
                    <a:pt x="852" y="2989"/>
                  </a:lnTo>
                  <a:lnTo>
                    <a:pt x="933" y="3036"/>
                  </a:lnTo>
                  <a:lnTo>
                    <a:pt x="1017" y="3079"/>
                  </a:lnTo>
                  <a:lnTo>
                    <a:pt x="1104" y="3117"/>
                  </a:lnTo>
                  <a:lnTo>
                    <a:pt x="1194" y="3148"/>
                  </a:lnTo>
                  <a:lnTo>
                    <a:pt x="1286" y="3175"/>
                  </a:lnTo>
                  <a:lnTo>
                    <a:pt x="1379" y="3196"/>
                  </a:lnTo>
                  <a:lnTo>
                    <a:pt x="1476" y="3212"/>
                  </a:lnTo>
                  <a:lnTo>
                    <a:pt x="1401" y="3138"/>
                  </a:lnTo>
                  <a:lnTo>
                    <a:pt x="1331" y="3060"/>
                  </a:lnTo>
                  <a:lnTo>
                    <a:pt x="1265" y="2979"/>
                  </a:lnTo>
                  <a:lnTo>
                    <a:pt x="1202" y="2897"/>
                  </a:lnTo>
                  <a:lnTo>
                    <a:pt x="1144" y="2811"/>
                  </a:lnTo>
                  <a:lnTo>
                    <a:pt x="1091" y="2722"/>
                  </a:lnTo>
                  <a:lnTo>
                    <a:pt x="1041" y="2632"/>
                  </a:lnTo>
                  <a:lnTo>
                    <a:pt x="997" y="2539"/>
                  </a:lnTo>
                  <a:close/>
                  <a:moveTo>
                    <a:pt x="1737" y="2421"/>
                  </a:moveTo>
                  <a:lnTo>
                    <a:pt x="1737" y="3189"/>
                  </a:lnTo>
                  <a:lnTo>
                    <a:pt x="1818" y="3115"/>
                  </a:lnTo>
                  <a:lnTo>
                    <a:pt x="1895" y="3037"/>
                  </a:lnTo>
                  <a:lnTo>
                    <a:pt x="1967" y="2955"/>
                  </a:lnTo>
                  <a:lnTo>
                    <a:pt x="2034" y="2871"/>
                  </a:lnTo>
                  <a:lnTo>
                    <a:pt x="2096" y="2783"/>
                  </a:lnTo>
                  <a:lnTo>
                    <a:pt x="2153" y="2692"/>
                  </a:lnTo>
                  <a:lnTo>
                    <a:pt x="2205" y="2598"/>
                  </a:lnTo>
                  <a:lnTo>
                    <a:pt x="2252" y="2502"/>
                  </a:lnTo>
                  <a:lnTo>
                    <a:pt x="2152" y="2476"/>
                  </a:lnTo>
                  <a:lnTo>
                    <a:pt x="2050" y="2454"/>
                  </a:lnTo>
                  <a:lnTo>
                    <a:pt x="1947" y="2438"/>
                  </a:lnTo>
                  <a:lnTo>
                    <a:pt x="1843" y="2428"/>
                  </a:lnTo>
                  <a:lnTo>
                    <a:pt x="1737" y="2421"/>
                  </a:lnTo>
                  <a:close/>
                  <a:moveTo>
                    <a:pt x="1621" y="2421"/>
                  </a:moveTo>
                  <a:lnTo>
                    <a:pt x="1516" y="2428"/>
                  </a:lnTo>
                  <a:lnTo>
                    <a:pt x="1413" y="2438"/>
                  </a:lnTo>
                  <a:lnTo>
                    <a:pt x="1310" y="2454"/>
                  </a:lnTo>
                  <a:lnTo>
                    <a:pt x="1208" y="2476"/>
                  </a:lnTo>
                  <a:lnTo>
                    <a:pt x="1108" y="2502"/>
                  </a:lnTo>
                  <a:lnTo>
                    <a:pt x="1154" y="2598"/>
                  </a:lnTo>
                  <a:lnTo>
                    <a:pt x="1207" y="2692"/>
                  </a:lnTo>
                  <a:lnTo>
                    <a:pt x="1263" y="2783"/>
                  </a:lnTo>
                  <a:lnTo>
                    <a:pt x="1326" y="2871"/>
                  </a:lnTo>
                  <a:lnTo>
                    <a:pt x="1393" y="2955"/>
                  </a:lnTo>
                  <a:lnTo>
                    <a:pt x="1465" y="3037"/>
                  </a:lnTo>
                  <a:lnTo>
                    <a:pt x="1540" y="3115"/>
                  </a:lnTo>
                  <a:lnTo>
                    <a:pt x="1621" y="3189"/>
                  </a:lnTo>
                  <a:lnTo>
                    <a:pt x="1621" y="2421"/>
                  </a:lnTo>
                  <a:close/>
                  <a:moveTo>
                    <a:pt x="2547" y="1728"/>
                  </a:moveTo>
                  <a:lnTo>
                    <a:pt x="2542" y="1833"/>
                  </a:lnTo>
                  <a:lnTo>
                    <a:pt x="2531" y="1935"/>
                  </a:lnTo>
                  <a:lnTo>
                    <a:pt x="2515" y="2038"/>
                  </a:lnTo>
                  <a:lnTo>
                    <a:pt x="2495" y="2138"/>
                  </a:lnTo>
                  <a:lnTo>
                    <a:pt x="2471" y="2238"/>
                  </a:lnTo>
                  <a:lnTo>
                    <a:pt x="2442" y="2335"/>
                  </a:lnTo>
                  <a:lnTo>
                    <a:pt x="2407" y="2432"/>
                  </a:lnTo>
                  <a:lnTo>
                    <a:pt x="2505" y="2469"/>
                  </a:lnTo>
                  <a:lnTo>
                    <a:pt x="2601" y="2512"/>
                  </a:lnTo>
                  <a:lnTo>
                    <a:pt x="2695" y="2561"/>
                  </a:lnTo>
                  <a:lnTo>
                    <a:pt x="2787" y="2613"/>
                  </a:lnTo>
                  <a:lnTo>
                    <a:pt x="2877" y="2669"/>
                  </a:lnTo>
                  <a:lnTo>
                    <a:pt x="2933" y="2598"/>
                  </a:lnTo>
                  <a:lnTo>
                    <a:pt x="2987" y="2523"/>
                  </a:lnTo>
                  <a:lnTo>
                    <a:pt x="3036" y="2445"/>
                  </a:lnTo>
                  <a:lnTo>
                    <a:pt x="3079" y="2364"/>
                  </a:lnTo>
                  <a:lnTo>
                    <a:pt x="3118" y="2280"/>
                  </a:lnTo>
                  <a:lnTo>
                    <a:pt x="3152" y="2193"/>
                  </a:lnTo>
                  <a:lnTo>
                    <a:pt x="3181" y="2104"/>
                  </a:lnTo>
                  <a:lnTo>
                    <a:pt x="3205" y="2013"/>
                  </a:lnTo>
                  <a:lnTo>
                    <a:pt x="3223" y="1920"/>
                  </a:lnTo>
                  <a:lnTo>
                    <a:pt x="3236" y="1825"/>
                  </a:lnTo>
                  <a:lnTo>
                    <a:pt x="3242" y="1728"/>
                  </a:lnTo>
                  <a:lnTo>
                    <a:pt x="2547" y="1728"/>
                  </a:lnTo>
                  <a:close/>
                  <a:moveTo>
                    <a:pt x="1737" y="1728"/>
                  </a:moveTo>
                  <a:lnTo>
                    <a:pt x="1737" y="2306"/>
                  </a:lnTo>
                  <a:lnTo>
                    <a:pt x="1852" y="2312"/>
                  </a:lnTo>
                  <a:lnTo>
                    <a:pt x="1966" y="2324"/>
                  </a:lnTo>
                  <a:lnTo>
                    <a:pt x="2077" y="2342"/>
                  </a:lnTo>
                  <a:lnTo>
                    <a:pt x="2188" y="2366"/>
                  </a:lnTo>
                  <a:lnTo>
                    <a:pt x="2297" y="2395"/>
                  </a:lnTo>
                  <a:lnTo>
                    <a:pt x="2335" y="2289"/>
                  </a:lnTo>
                  <a:lnTo>
                    <a:pt x="2367" y="2180"/>
                  </a:lnTo>
                  <a:lnTo>
                    <a:pt x="2392" y="2069"/>
                  </a:lnTo>
                  <a:lnTo>
                    <a:pt x="2411" y="1957"/>
                  </a:lnTo>
                  <a:lnTo>
                    <a:pt x="2425" y="1843"/>
                  </a:lnTo>
                  <a:lnTo>
                    <a:pt x="2431" y="1728"/>
                  </a:lnTo>
                  <a:lnTo>
                    <a:pt x="1737" y="1728"/>
                  </a:lnTo>
                  <a:close/>
                  <a:moveTo>
                    <a:pt x="929" y="1728"/>
                  </a:moveTo>
                  <a:lnTo>
                    <a:pt x="935" y="1843"/>
                  </a:lnTo>
                  <a:lnTo>
                    <a:pt x="949" y="1957"/>
                  </a:lnTo>
                  <a:lnTo>
                    <a:pt x="968" y="2069"/>
                  </a:lnTo>
                  <a:lnTo>
                    <a:pt x="993" y="2180"/>
                  </a:lnTo>
                  <a:lnTo>
                    <a:pt x="1024" y="2288"/>
                  </a:lnTo>
                  <a:lnTo>
                    <a:pt x="1062" y="2395"/>
                  </a:lnTo>
                  <a:lnTo>
                    <a:pt x="1172" y="2366"/>
                  </a:lnTo>
                  <a:lnTo>
                    <a:pt x="1282" y="2342"/>
                  </a:lnTo>
                  <a:lnTo>
                    <a:pt x="1394" y="2324"/>
                  </a:lnTo>
                  <a:lnTo>
                    <a:pt x="1508" y="2312"/>
                  </a:lnTo>
                  <a:lnTo>
                    <a:pt x="1621" y="2306"/>
                  </a:lnTo>
                  <a:lnTo>
                    <a:pt x="1621" y="1728"/>
                  </a:lnTo>
                  <a:lnTo>
                    <a:pt x="929" y="1728"/>
                  </a:lnTo>
                  <a:close/>
                  <a:moveTo>
                    <a:pt x="118" y="1728"/>
                  </a:moveTo>
                  <a:lnTo>
                    <a:pt x="124" y="1825"/>
                  </a:lnTo>
                  <a:lnTo>
                    <a:pt x="137" y="1920"/>
                  </a:lnTo>
                  <a:lnTo>
                    <a:pt x="155" y="2013"/>
                  </a:lnTo>
                  <a:lnTo>
                    <a:pt x="178" y="2104"/>
                  </a:lnTo>
                  <a:lnTo>
                    <a:pt x="207" y="2193"/>
                  </a:lnTo>
                  <a:lnTo>
                    <a:pt x="241" y="2280"/>
                  </a:lnTo>
                  <a:lnTo>
                    <a:pt x="280" y="2364"/>
                  </a:lnTo>
                  <a:lnTo>
                    <a:pt x="324" y="2445"/>
                  </a:lnTo>
                  <a:lnTo>
                    <a:pt x="373" y="2523"/>
                  </a:lnTo>
                  <a:lnTo>
                    <a:pt x="425" y="2598"/>
                  </a:lnTo>
                  <a:lnTo>
                    <a:pt x="483" y="2669"/>
                  </a:lnTo>
                  <a:lnTo>
                    <a:pt x="573" y="2613"/>
                  </a:lnTo>
                  <a:lnTo>
                    <a:pt x="664" y="2561"/>
                  </a:lnTo>
                  <a:lnTo>
                    <a:pt x="758" y="2512"/>
                  </a:lnTo>
                  <a:lnTo>
                    <a:pt x="855" y="2469"/>
                  </a:lnTo>
                  <a:lnTo>
                    <a:pt x="953" y="2432"/>
                  </a:lnTo>
                  <a:lnTo>
                    <a:pt x="918" y="2335"/>
                  </a:lnTo>
                  <a:lnTo>
                    <a:pt x="889" y="2238"/>
                  </a:lnTo>
                  <a:lnTo>
                    <a:pt x="863" y="2138"/>
                  </a:lnTo>
                  <a:lnTo>
                    <a:pt x="843" y="2038"/>
                  </a:lnTo>
                  <a:lnTo>
                    <a:pt x="829" y="1935"/>
                  </a:lnTo>
                  <a:lnTo>
                    <a:pt x="818" y="1833"/>
                  </a:lnTo>
                  <a:lnTo>
                    <a:pt x="813" y="1728"/>
                  </a:lnTo>
                  <a:lnTo>
                    <a:pt x="118" y="1728"/>
                  </a:lnTo>
                  <a:close/>
                  <a:moveTo>
                    <a:pt x="2276" y="894"/>
                  </a:moveTo>
                  <a:lnTo>
                    <a:pt x="2171" y="922"/>
                  </a:lnTo>
                  <a:lnTo>
                    <a:pt x="2065" y="944"/>
                  </a:lnTo>
                  <a:lnTo>
                    <a:pt x="1956" y="960"/>
                  </a:lnTo>
                  <a:lnTo>
                    <a:pt x="1848" y="972"/>
                  </a:lnTo>
                  <a:lnTo>
                    <a:pt x="1737" y="977"/>
                  </a:lnTo>
                  <a:lnTo>
                    <a:pt x="1737" y="1613"/>
                  </a:lnTo>
                  <a:lnTo>
                    <a:pt x="2431" y="1613"/>
                  </a:lnTo>
                  <a:lnTo>
                    <a:pt x="2425" y="1506"/>
                  </a:lnTo>
                  <a:lnTo>
                    <a:pt x="2414" y="1400"/>
                  </a:lnTo>
                  <a:lnTo>
                    <a:pt x="2397" y="1295"/>
                  </a:lnTo>
                  <a:lnTo>
                    <a:pt x="2374" y="1193"/>
                  </a:lnTo>
                  <a:lnTo>
                    <a:pt x="2347" y="1091"/>
                  </a:lnTo>
                  <a:lnTo>
                    <a:pt x="2314" y="992"/>
                  </a:lnTo>
                  <a:lnTo>
                    <a:pt x="2276" y="894"/>
                  </a:lnTo>
                  <a:close/>
                  <a:moveTo>
                    <a:pt x="1083" y="894"/>
                  </a:moveTo>
                  <a:lnTo>
                    <a:pt x="1046" y="992"/>
                  </a:lnTo>
                  <a:lnTo>
                    <a:pt x="1013" y="1091"/>
                  </a:lnTo>
                  <a:lnTo>
                    <a:pt x="984" y="1193"/>
                  </a:lnTo>
                  <a:lnTo>
                    <a:pt x="962" y="1295"/>
                  </a:lnTo>
                  <a:lnTo>
                    <a:pt x="945" y="1400"/>
                  </a:lnTo>
                  <a:lnTo>
                    <a:pt x="935" y="1506"/>
                  </a:lnTo>
                  <a:lnTo>
                    <a:pt x="929" y="1613"/>
                  </a:lnTo>
                  <a:lnTo>
                    <a:pt x="1621" y="1613"/>
                  </a:lnTo>
                  <a:lnTo>
                    <a:pt x="1621" y="977"/>
                  </a:lnTo>
                  <a:lnTo>
                    <a:pt x="1512" y="972"/>
                  </a:lnTo>
                  <a:lnTo>
                    <a:pt x="1402" y="960"/>
                  </a:lnTo>
                  <a:lnTo>
                    <a:pt x="1295" y="944"/>
                  </a:lnTo>
                  <a:lnTo>
                    <a:pt x="1189" y="922"/>
                  </a:lnTo>
                  <a:lnTo>
                    <a:pt x="1083" y="894"/>
                  </a:lnTo>
                  <a:close/>
                  <a:moveTo>
                    <a:pt x="2845" y="636"/>
                  </a:moveTo>
                  <a:lnTo>
                    <a:pt x="2758" y="689"/>
                  </a:lnTo>
                  <a:lnTo>
                    <a:pt x="2668" y="738"/>
                  </a:lnTo>
                  <a:lnTo>
                    <a:pt x="2576" y="782"/>
                  </a:lnTo>
                  <a:lnTo>
                    <a:pt x="2483" y="823"/>
                  </a:lnTo>
                  <a:lnTo>
                    <a:pt x="2388" y="859"/>
                  </a:lnTo>
                  <a:lnTo>
                    <a:pt x="2427" y="961"/>
                  </a:lnTo>
                  <a:lnTo>
                    <a:pt x="2461" y="1066"/>
                  </a:lnTo>
                  <a:lnTo>
                    <a:pt x="2489" y="1172"/>
                  </a:lnTo>
                  <a:lnTo>
                    <a:pt x="2512" y="1281"/>
                  </a:lnTo>
                  <a:lnTo>
                    <a:pt x="2529" y="1390"/>
                  </a:lnTo>
                  <a:lnTo>
                    <a:pt x="2541" y="1501"/>
                  </a:lnTo>
                  <a:lnTo>
                    <a:pt x="2547" y="1613"/>
                  </a:lnTo>
                  <a:lnTo>
                    <a:pt x="3242" y="1613"/>
                  </a:lnTo>
                  <a:lnTo>
                    <a:pt x="3235" y="1511"/>
                  </a:lnTo>
                  <a:lnTo>
                    <a:pt x="3222" y="1412"/>
                  </a:lnTo>
                  <a:lnTo>
                    <a:pt x="3202" y="1314"/>
                  </a:lnTo>
                  <a:lnTo>
                    <a:pt x="3176" y="1220"/>
                  </a:lnTo>
                  <a:lnTo>
                    <a:pt x="3144" y="1127"/>
                  </a:lnTo>
                  <a:lnTo>
                    <a:pt x="3107" y="1037"/>
                  </a:lnTo>
                  <a:lnTo>
                    <a:pt x="3065" y="950"/>
                  </a:lnTo>
                  <a:lnTo>
                    <a:pt x="3018" y="866"/>
                  </a:lnTo>
                  <a:lnTo>
                    <a:pt x="2965" y="785"/>
                  </a:lnTo>
                  <a:lnTo>
                    <a:pt x="2907" y="709"/>
                  </a:lnTo>
                  <a:lnTo>
                    <a:pt x="2845" y="636"/>
                  </a:lnTo>
                  <a:close/>
                  <a:moveTo>
                    <a:pt x="515" y="636"/>
                  </a:moveTo>
                  <a:lnTo>
                    <a:pt x="453" y="709"/>
                  </a:lnTo>
                  <a:lnTo>
                    <a:pt x="395" y="785"/>
                  </a:lnTo>
                  <a:lnTo>
                    <a:pt x="342" y="866"/>
                  </a:lnTo>
                  <a:lnTo>
                    <a:pt x="295" y="950"/>
                  </a:lnTo>
                  <a:lnTo>
                    <a:pt x="253" y="1037"/>
                  </a:lnTo>
                  <a:lnTo>
                    <a:pt x="215" y="1127"/>
                  </a:lnTo>
                  <a:lnTo>
                    <a:pt x="183" y="1220"/>
                  </a:lnTo>
                  <a:lnTo>
                    <a:pt x="158" y="1314"/>
                  </a:lnTo>
                  <a:lnTo>
                    <a:pt x="138" y="1412"/>
                  </a:lnTo>
                  <a:lnTo>
                    <a:pt x="125" y="1511"/>
                  </a:lnTo>
                  <a:lnTo>
                    <a:pt x="118" y="1613"/>
                  </a:lnTo>
                  <a:lnTo>
                    <a:pt x="813" y="1613"/>
                  </a:lnTo>
                  <a:lnTo>
                    <a:pt x="819" y="1501"/>
                  </a:lnTo>
                  <a:lnTo>
                    <a:pt x="831" y="1390"/>
                  </a:lnTo>
                  <a:lnTo>
                    <a:pt x="848" y="1281"/>
                  </a:lnTo>
                  <a:lnTo>
                    <a:pt x="871" y="1172"/>
                  </a:lnTo>
                  <a:lnTo>
                    <a:pt x="899" y="1066"/>
                  </a:lnTo>
                  <a:lnTo>
                    <a:pt x="933" y="961"/>
                  </a:lnTo>
                  <a:lnTo>
                    <a:pt x="972" y="859"/>
                  </a:lnTo>
                  <a:lnTo>
                    <a:pt x="877" y="823"/>
                  </a:lnTo>
                  <a:lnTo>
                    <a:pt x="783" y="782"/>
                  </a:lnTo>
                  <a:lnTo>
                    <a:pt x="692" y="738"/>
                  </a:lnTo>
                  <a:lnTo>
                    <a:pt x="602" y="689"/>
                  </a:lnTo>
                  <a:lnTo>
                    <a:pt x="515" y="636"/>
                  </a:lnTo>
                  <a:close/>
                  <a:moveTo>
                    <a:pt x="1737" y="153"/>
                  </a:moveTo>
                  <a:lnTo>
                    <a:pt x="1737" y="862"/>
                  </a:lnTo>
                  <a:lnTo>
                    <a:pt x="1837" y="857"/>
                  </a:lnTo>
                  <a:lnTo>
                    <a:pt x="1937" y="847"/>
                  </a:lnTo>
                  <a:lnTo>
                    <a:pt x="2035" y="831"/>
                  </a:lnTo>
                  <a:lnTo>
                    <a:pt x="2132" y="813"/>
                  </a:lnTo>
                  <a:lnTo>
                    <a:pt x="2228" y="789"/>
                  </a:lnTo>
                  <a:lnTo>
                    <a:pt x="2182" y="700"/>
                  </a:lnTo>
                  <a:lnTo>
                    <a:pt x="2131" y="613"/>
                  </a:lnTo>
                  <a:lnTo>
                    <a:pt x="2076" y="529"/>
                  </a:lnTo>
                  <a:lnTo>
                    <a:pt x="2016" y="448"/>
                  </a:lnTo>
                  <a:lnTo>
                    <a:pt x="1953" y="370"/>
                  </a:lnTo>
                  <a:lnTo>
                    <a:pt x="1886" y="294"/>
                  </a:lnTo>
                  <a:lnTo>
                    <a:pt x="1813" y="222"/>
                  </a:lnTo>
                  <a:lnTo>
                    <a:pt x="1737" y="153"/>
                  </a:lnTo>
                  <a:close/>
                  <a:moveTo>
                    <a:pt x="1621" y="153"/>
                  </a:moveTo>
                  <a:lnTo>
                    <a:pt x="1546" y="222"/>
                  </a:lnTo>
                  <a:lnTo>
                    <a:pt x="1474" y="294"/>
                  </a:lnTo>
                  <a:lnTo>
                    <a:pt x="1407" y="370"/>
                  </a:lnTo>
                  <a:lnTo>
                    <a:pt x="1342" y="448"/>
                  </a:lnTo>
                  <a:lnTo>
                    <a:pt x="1283" y="529"/>
                  </a:lnTo>
                  <a:lnTo>
                    <a:pt x="1229" y="613"/>
                  </a:lnTo>
                  <a:lnTo>
                    <a:pt x="1178" y="700"/>
                  </a:lnTo>
                  <a:lnTo>
                    <a:pt x="1132" y="789"/>
                  </a:lnTo>
                  <a:lnTo>
                    <a:pt x="1228" y="813"/>
                  </a:lnTo>
                  <a:lnTo>
                    <a:pt x="1325" y="831"/>
                  </a:lnTo>
                  <a:lnTo>
                    <a:pt x="1422" y="847"/>
                  </a:lnTo>
                  <a:lnTo>
                    <a:pt x="1521" y="857"/>
                  </a:lnTo>
                  <a:lnTo>
                    <a:pt x="1621" y="862"/>
                  </a:lnTo>
                  <a:lnTo>
                    <a:pt x="1621" y="153"/>
                  </a:lnTo>
                  <a:close/>
                  <a:moveTo>
                    <a:pt x="1884" y="129"/>
                  </a:moveTo>
                  <a:lnTo>
                    <a:pt x="1964" y="208"/>
                  </a:lnTo>
                  <a:lnTo>
                    <a:pt x="2038" y="291"/>
                  </a:lnTo>
                  <a:lnTo>
                    <a:pt x="2109" y="378"/>
                  </a:lnTo>
                  <a:lnTo>
                    <a:pt x="2174" y="467"/>
                  </a:lnTo>
                  <a:lnTo>
                    <a:pt x="2234" y="560"/>
                  </a:lnTo>
                  <a:lnTo>
                    <a:pt x="2290" y="656"/>
                  </a:lnTo>
                  <a:lnTo>
                    <a:pt x="2341" y="753"/>
                  </a:lnTo>
                  <a:lnTo>
                    <a:pt x="2428" y="720"/>
                  </a:lnTo>
                  <a:lnTo>
                    <a:pt x="2514" y="684"/>
                  </a:lnTo>
                  <a:lnTo>
                    <a:pt x="2599" y="644"/>
                  </a:lnTo>
                  <a:lnTo>
                    <a:pt x="2682" y="599"/>
                  </a:lnTo>
                  <a:lnTo>
                    <a:pt x="2763" y="551"/>
                  </a:lnTo>
                  <a:lnTo>
                    <a:pt x="2698" y="491"/>
                  </a:lnTo>
                  <a:lnTo>
                    <a:pt x="2628" y="436"/>
                  </a:lnTo>
                  <a:lnTo>
                    <a:pt x="2555" y="383"/>
                  </a:lnTo>
                  <a:lnTo>
                    <a:pt x="2481" y="336"/>
                  </a:lnTo>
                  <a:lnTo>
                    <a:pt x="2403" y="292"/>
                  </a:lnTo>
                  <a:lnTo>
                    <a:pt x="2322" y="253"/>
                  </a:lnTo>
                  <a:lnTo>
                    <a:pt x="2238" y="219"/>
                  </a:lnTo>
                  <a:lnTo>
                    <a:pt x="2153" y="188"/>
                  </a:lnTo>
                  <a:lnTo>
                    <a:pt x="2065" y="163"/>
                  </a:lnTo>
                  <a:lnTo>
                    <a:pt x="1975" y="143"/>
                  </a:lnTo>
                  <a:lnTo>
                    <a:pt x="1884" y="129"/>
                  </a:lnTo>
                  <a:close/>
                  <a:moveTo>
                    <a:pt x="1476" y="129"/>
                  </a:moveTo>
                  <a:lnTo>
                    <a:pt x="1385" y="143"/>
                  </a:lnTo>
                  <a:lnTo>
                    <a:pt x="1294" y="163"/>
                  </a:lnTo>
                  <a:lnTo>
                    <a:pt x="1207" y="188"/>
                  </a:lnTo>
                  <a:lnTo>
                    <a:pt x="1121" y="219"/>
                  </a:lnTo>
                  <a:lnTo>
                    <a:pt x="1038" y="253"/>
                  </a:lnTo>
                  <a:lnTo>
                    <a:pt x="957" y="292"/>
                  </a:lnTo>
                  <a:lnTo>
                    <a:pt x="879" y="336"/>
                  </a:lnTo>
                  <a:lnTo>
                    <a:pt x="803" y="383"/>
                  </a:lnTo>
                  <a:lnTo>
                    <a:pt x="732" y="436"/>
                  </a:lnTo>
                  <a:lnTo>
                    <a:pt x="662" y="491"/>
                  </a:lnTo>
                  <a:lnTo>
                    <a:pt x="597" y="551"/>
                  </a:lnTo>
                  <a:lnTo>
                    <a:pt x="678" y="599"/>
                  </a:lnTo>
                  <a:lnTo>
                    <a:pt x="760" y="644"/>
                  </a:lnTo>
                  <a:lnTo>
                    <a:pt x="845" y="684"/>
                  </a:lnTo>
                  <a:lnTo>
                    <a:pt x="932" y="720"/>
                  </a:lnTo>
                  <a:lnTo>
                    <a:pt x="1019" y="753"/>
                  </a:lnTo>
                  <a:lnTo>
                    <a:pt x="1070" y="656"/>
                  </a:lnTo>
                  <a:lnTo>
                    <a:pt x="1124" y="560"/>
                  </a:lnTo>
                  <a:lnTo>
                    <a:pt x="1186" y="467"/>
                  </a:lnTo>
                  <a:lnTo>
                    <a:pt x="1251" y="378"/>
                  </a:lnTo>
                  <a:lnTo>
                    <a:pt x="1321" y="291"/>
                  </a:lnTo>
                  <a:lnTo>
                    <a:pt x="1396" y="208"/>
                  </a:lnTo>
                  <a:lnTo>
                    <a:pt x="1476" y="129"/>
                  </a:lnTo>
                  <a:close/>
                  <a:moveTo>
                    <a:pt x="1679" y="0"/>
                  </a:moveTo>
                  <a:lnTo>
                    <a:pt x="1706" y="1"/>
                  </a:lnTo>
                  <a:lnTo>
                    <a:pt x="1738" y="2"/>
                  </a:lnTo>
                  <a:lnTo>
                    <a:pt x="1843" y="8"/>
                  </a:lnTo>
                  <a:lnTo>
                    <a:pt x="1946" y="22"/>
                  </a:lnTo>
                  <a:lnTo>
                    <a:pt x="2047" y="41"/>
                  </a:lnTo>
                  <a:lnTo>
                    <a:pt x="2146" y="66"/>
                  </a:lnTo>
                  <a:lnTo>
                    <a:pt x="2243" y="97"/>
                  </a:lnTo>
                  <a:lnTo>
                    <a:pt x="2336" y="134"/>
                  </a:lnTo>
                  <a:lnTo>
                    <a:pt x="2427" y="175"/>
                  </a:lnTo>
                  <a:lnTo>
                    <a:pt x="2515" y="222"/>
                  </a:lnTo>
                  <a:lnTo>
                    <a:pt x="2600" y="274"/>
                  </a:lnTo>
                  <a:lnTo>
                    <a:pt x="2681" y="331"/>
                  </a:lnTo>
                  <a:lnTo>
                    <a:pt x="2759" y="392"/>
                  </a:lnTo>
                  <a:lnTo>
                    <a:pt x="2832" y="458"/>
                  </a:lnTo>
                  <a:lnTo>
                    <a:pt x="2903" y="527"/>
                  </a:lnTo>
                  <a:lnTo>
                    <a:pt x="2903" y="528"/>
                  </a:lnTo>
                  <a:lnTo>
                    <a:pt x="2966" y="599"/>
                  </a:lnTo>
                  <a:lnTo>
                    <a:pt x="3026" y="673"/>
                  </a:lnTo>
                  <a:lnTo>
                    <a:pt x="3081" y="751"/>
                  </a:lnTo>
                  <a:lnTo>
                    <a:pt x="3131" y="831"/>
                  </a:lnTo>
                  <a:lnTo>
                    <a:pt x="3177" y="915"/>
                  </a:lnTo>
                  <a:lnTo>
                    <a:pt x="3219" y="1001"/>
                  </a:lnTo>
                  <a:lnTo>
                    <a:pt x="3255" y="1091"/>
                  </a:lnTo>
                  <a:lnTo>
                    <a:pt x="3286" y="1182"/>
                  </a:lnTo>
                  <a:lnTo>
                    <a:pt x="3311" y="1276"/>
                  </a:lnTo>
                  <a:lnTo>
                    <a:pt x="3332" y="1372"/>
                  </a:lnTo>
                  <a:lnTo>
                    <a:pt x="3347" y="1469"/>
                  </a:lnTo>
                  <a:lnTo>
                    <a:pt x="3356" y="1570"/>
                  </a:lnTo>
                  <a:lnTo>
                    <a:pt x="3359" y="1670"/>
                  </a:lnTo>
                  <a:lnTo>
                    <a:pt x="3356" y="1776"/>
                  </a:lnTo>
                  <a:lnTo>
                    <a:pt x="3346" y="1880"/>
                  </a:lnTo>
                  <a:lnTo>
                    <a:pt x="3330" y="1981"/>
                  </a:lnTo>
                  <a:lnTo>
                    <a:pt x="3308" y="2081"/>
                  </a:lnTo>
                  <a:lnTo>
                    <a:pt x="3280" y="2178"/>
                  </a:lnTo>
                  <a:lnTo>
                    <a:pt x="3246" y="2273"/>
                  </a:lnTo>
                  <a:lnTo>
                    <a:pt x="3207" y="2365"/>
                  </a:lnTo>
                  <a:lnTo>
                    <a:pt x="3163" y="2454"/>
                  </a:lnTo>
                  <a:lnTo>
                    <a:pt x="3113" y="2540"/>
                  </a:lnTo>
                  <a:lnTo>
                    <a:pt x="3059" y="2622"/>
                  </a:lnTo>
                  <a:lnTo>
                    <a:pt x="3000" y="2702"/>
                  </a:lnTo>
                  <a:lnTo>
                    <a:pt x="2936" y="2777"/>
                  </a:lnTo>
                  <a:lnTo>
                    <a:pt x="2936" y="2778"/>
                  </a:lnTo>
                  <a:lnTo>
                    <a:pt x="2934" y="2779"/>
                  </a:lnTo>
                  <a:lnTo>
                    <a:pt x="2934" y="2780"/>
                  </a:lnTo>
                  <a:lnTo>
                    <a:pt x="2933" y="2780"/>
                  </a:lnTo>
                  <a:lnTo>
                    <a:pt x="2932" y="2781"/>
                  </a:lnTo>
                  <a:lnTo>
                    <a:pt x="2867" y="2851"/>
                  </a:lnTo>
                  <a:lnTo>
                    <a:pt x="2798" y="2916"/>
                  </a:lnTo>
                  <a:lnTo>
                    <a:pt x="2725" y="2976"/>
                  </a:lnTo>
                  <a:lnTo>
                    <a:pt x="2649" y="3034"/>
                  </a:lnTo>
                  <a:lnTo>
                    <a:pt x="2570" y="3086"/>
                  </a:lnTo>
                  <a:lnTo>
                    <a:pt x="2487" y="3134"/>
                  </a:lnTo>
                  <a:lnTo>
                    <a:pt x="2402" y="3178"/>
                  </a:lnTo>
                  <a:lnTo>
                    <a:pt x="2314" y="3217"/>
                  </a:lnTo>
                  <a:lnTo>
                    <a:pt x="2224" y="3251"/>
                  </a:lnTo>
                  <a:lnTo>
                    <a:pt x="2130" y="3280"/>
                  </a:lnTo>
                  <a:lnTo>
                    <a:pt x="2035" y="3303"/>
                  </a:lnTo>
                  <a:lnTo>
                    <a:pt x="1937" y="3321"/>
                  </a:lnTo>
                  <a:lnTo>
                    <a:pt x="1838" y="3333"/>
                  </a:lnTo>
                  <a:lnTo>
                    <a:pt x="1738" y="3340"/>
                  </a:lnTo>
                  <a:lnTo>
                    <a:pt x="1737" y="3340"/>
                  </a:lnTo>
                  <a:lnTo>
                    <a:pt x="1706" y="3341"/>
                  </a:lnTo>
                  <a:lnTo>
                    <a:pt x="1679" y="3341"/>
                  </a:lnTo>
                  <a:lnTo>
                    <a:pt x="1654" y="3341"/>
                  </a:lnTo>
                  <a:lnTo>
                    <a:pt x="1621" y="3340"/>
                  </a:lnTo>
                  <a:lnTo>
                    <a:pt x="1521" y="3333"/>
                  </a:lnTo>
                  <a:lnTo>
                    <a:pt x="1422" y="3321"/>
                  </a:lnTo>
                  <a:lnTo>
                    <a:pt x="1325" y="3303"/>
                  </a:lnTo>
                  <a:lnTo>
                    <a:pt x="1230" y="3280"/>
                  </a:lnTo>
                  <a:lnTo>
                    <a:pt x="1137" y="3251"/>
                  </a:lnTo>
                  <a:lnTo>
                    <a:pt x="1047" y="3217"/>
                  </a:lnTo>
                  <a:lnTo>
                    <a:pt x="958" y="3178"/>
                  </a:lnTo>
                  <a:lnTo>
                    <a:pt x="873" y="3134"/>
                  </a:lnTo>
                  <a:lnTo>
                    <a:pt x="791" y="3087"/>
                  </a:lnTo>
                  <a:lnTo>
                    <a:pt x="712" y="3034"/>
                  </a:lnTo>
                  <a:lnTo>
                    <a:pt x="635" y="2977"/>
                  </a:lnTo>
                  <a:lnTo>
                    <a:pt x="562" y="2917"/>
                  </a:lnTo>
                  <a:lnTo>
                    <a:pt x="494" y="2852"/>
                  </a:lnTo>
                  <a:lnTo>
                    <a:pt x="428" y="2783"/>
                  </a:lnTo>
                  <a:lnTo>
                    <a:pt x="426" y="2781"/>
                  </a:lnTo>
                  <a:lnTo>
                    <a:pt x="424" y="2779"/>
                  </a:lnTo>
                  <a:lnTo>
                    <a:pt x="424" y="2778"/>
                  </a:lnTo>
                  <a:lnTo>
                    <a:pt x="423" y="2777"/>
                  </a:lnTo>
                  <a:lnTo>
                    <a:pt x="360" y="2702"/>
                  </a:lnTo>
                  <a:lnTo>
                    <a:pt x="301" y="2622"/>
                  </a:lnTo>
                  <a:lnTo>
                    <a:pt x="246" y="2540"/>
                  </a:lnTo>
                  <a:lnTo>
                    <a:pt x="197" y="2454"/>
                  </a:lnTo>
                  <a:lnTo>
                    <a:pt x="153" y="2365"/>
                  </a:lnTo>
                  <a:lnTo>
                    <a:pt x="114" y="2273"/>
                  </a:lnTo>
                  <a:lnTo>
                    <a:pt x="80" y="2178"/>
                  </a:lnTo>
                  <a:lnTo>
                    <a:pt x="52" y="2081"/>
                  </a:lnTo>
                  <a:lnTo>
                    <a:pt x="29" y="1981"/>
                  </a:lnTo>
                  <a:lnTo>
                    <a:pt x="14" y="1880"/>
                  </a:lnTo>
                  <a:lnTo>
                    <a:pt x="4" y="1776"/>
                  </a:lnTo>
                  <a:lnTo>
                    <a:pt x="0" y="1670"/>
                  </a:lnTo>
                  <a:lnTo>
                    <a:pt x="3" y="1570"/>
                  </a:lnTo>
                  <a:lnTo>
                    <a:pt x="13" y="1469"/>
                  </a:lnTo>
                  <a:lnTo>
                    <a:pt x="27" y="1372"/>
                  </a:lnTo>
                  <a:lnTo>
                    <a:pt x="47" y="1276"/>
                  </a:lnTo>
                  <a:lnTo>
                    <a:pt x="74" y="1182"/>
                  </a:lnTo>
                  <a:lnTo>
                    <a:pt x="105" y="1091"/>
                  </a:lnTo>
                  <a:lnTo>
                    <a:pt x="141" y="1001"/>
                  </a:lnTo>
                  <a:lnTo>
                    <a:pt x="182" y="915"/>
                  </a:lnTo>
                  <a:lnTo>
                    <a:pt x="228" y="831"/>
                  </a:lnTo>
                  <a:lnTo>
                    <a:pt x="279" y="751"/>
                  </a:lnTo>
                  <a:lnTo>
                    <a:pt x="334" y="673"/>
                  </a:lnTo>
                  <a:lnTo>
                    <a:pt x="393" y="599"/>
                  </a:lnTo>
                  <a:lnTo>
                    <a:pt x="456" y="528"/>
                  </a:lnTo>
                  <a:lnTo>
                    <a:pt x="457" y="528"/>
                  </a:lnTo>
                  <a:lnTo>
                    <a:pt x="457" y="527"/>
                  </a:lnTo>
                  <a:lnTo>
                    <a:pt x="527" y="458"/>
                  </a:lnTo>
                  <a:lnTo>
                    <a:pt x="601" y="392"/>
                  </a:lnTo>
                  <a:lnTo>
                    <a:pt x="679" y="331"/>
                  </a:lnTo>
                  <a:lnTo>
                    <a:pt x="760" y="274"/>
                  </a:lnTo>
                  <a:lnTo>
                    <a:pt x="844" y="222"/>
                  </a:lnTo>
                  <a:lnTo>
                    <a:pt x="933" y="175"/>
                  </a:lnTo>
                  <a:lnTo>
                    <a:pt x="1023" y="134"/>
                  </a:lnTo>
                  <a:lnTo>
                    <a:pt x="1117" y="97"/>
                  </a:lnTo>
                  <a:lnTo>
                    <a:pt x="1214" y="66"/>
                  </a:lnTo>
                  <a:lnTo>
                    <a:pt x="1313" y="41"/>
                  </a:lnTo>
                  <a:lnTo>
                    <a:pt x="1414" y="22"/>
                  </a:lnTo>
                  <a:lnTo>
                    <a:pt x="1517" y="8"/>
                  </a:lnTo>
                  <a:lnTo>
                    <a:pt x="1621" y="2"/>
                  </a:lnTo>
                  <a:lnTo>
                    <a:pt x="1654" y="1"/>
                  </a:lnTo>
                  <a:lnTo>
                    <a:pt x="1679"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0" name="Oval 9">
              <a:extLst>
                <a:ext uri="{FF2B5EF4-FFF2-40B4-BE49-F238E27FC236}">
                  <a16:creationId xmlns:a16="http://schemas.microsoft.com/office/drawing/2014/main" id="{350F0ABF-ED45-4943-AD65-589A6B79B075}"/>
                </a:ext>
              </a:extLst>
            </p:cNvPr>
            <p:cNvSpPr/>
            <p:nvPr/>
          </p:nvSpPr>
          <p:spPr>
            <a:xfrm>
              <a:off x="3119602" y="4650724"/>
              <a:ext cx="792000" cy="792000"/>
            </a:xfrm>
            <a:prstGeom prst="ellipse">
              <a:avLst/>
            </a:prstGeom>
            <a:noFill/>
            <a:ln w="19050" cap="flat" cmpd="sng" algn="ctr">
              <a:solidFill>
                <a:schemeClr val="bg1">
                  <a:lumMod val="10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B10B209F-5D32-4E3B-BFF2-961157992C0D}"/>
              </a:ext>
            </a:extLst>
          </p:cNvPr>
          <p:cNvGrpSpPr>
            <a:grpSpLocks/>
          </p:cNvGrpSpPr>
          <p:nvPr userDrawn="1"/>
        </p:nvGrpSpPr>
        <p:grpSpPr>
          <a:xfrm>
            <a:off x="5700001" y="4041034"/>
            <a:ext cx="792000" cy="792000"/>
            <a:chOff x="5893486" y="4650724"/>
            <a:chExt cx="792000" cy="792000"/>
          </a:xfrm>
        </p:grpSpPr>
        <p:grpSp>
          <p:nvGrpSpPr>
            <p:cNvPr id="12" name="Group 11">
              <a:extLst>
                <a:ext uri="{FF2B5EF4-FFF2-40B4-BE49-F238E27FC236}">
                  <a16:creationId xmlns:a16="http://schemas.microsoft.com/office/drawing/2014/main" id="{ADBD4C05-6A5B-47FA-BE80-9B16B30E6A3D}"/>
                </a:ext>
              </a:extLst>
            </p:cNvPr>
            <p:cNvGrpSpPr>
              <a:grpSpLocks noChangeAspect="1"/>
            </p:cNvGrpSpPr>
            <p:nvPr/>
          </p:nvGrpSpPr>
          <p:grpSpPr>
            <a:xfrm>
              <a:off x="6098333" y="4901119"/>
              <a:ext cx="382306" cy="291210"/>
              <a:chOff x="12336463" y="5772150"/>
              <a:chExt cx="4910138" cy="3740150"/>
            </a:xfrm>
            <a:solidFill>
              <a:schemeClr val="accent6"/>
            </a:solidFill>
          </p:grpSpPr>
          <p:sp>
            <p:nvSpPr>
              <p:cNvPr id="14" name="Freeform 171">
                <a:extLst>
                  <a:ext uri="{FF2B5EF4-FFF2-40B4-BE49-F238E27FC236}">
                    <a16:creationId xmlns:a16="http://schemas.microsoft.com/office/drawing/2014/main" id="{055AC519-DF1F-434E-B952-4A036EF9B53D}"/>
                  </a:ext>
                </a:extLst>
              </p:cNvPr>
              <p:cNvSpPr>
                <a:spLocks noEditPoints="1"/>
              </p:cNvSpPr>
              <p:nvPr/>
            </p:nvSpPr>
            <p:spPr bwMode="auto">
              <a:xfrm>
                <a:off x="12336463" y="5772150"/>
                <a:ext cx="4910138" cy="3740150"/>
              </a:xfrm>
              <a:custGeom>
                <a:avLst/>
                <a:gdLst>
                  <a:gd name="T0" fmla="*/ 691 w 6186"/>
                  <a:gd name="T1" fmla="*/ 353 h 4712"/>
                  <a:gd name="T2" fmla="*/ 569 w 6186"/>
                  <a:gd name="T3" fmla="*/ 395 h 4712"/>
                  <a:gd name="T4" fmla="*/ 465 w 6186"/>
                  <a:gd name="T5" fmla="*/ 470 h 4712"/>
                  <a:gd name="T6" fmla="*/ 392 w 6186"/>
                  <a:gd name="T7" fmla="*/ 571 h 4712"/>
                  <a:gd name="T8" fmla="*/ 351 w 6186"/>
                  <a:gd name="T9" fmla="*/ 693 h 4712"/>
                  <a:gd name="T10" fmla="*/ 345 w 6186"/>
                  <a:gd name="T11" fmla="*/ 3955 h 4712"/>
                  <a:gd name="T12" fmla="*/ 366 w 6186"/>
                  <a:gd name="T13" fmla="*/ 4085 h 4712"/>
                  <a:gd name="T14" fmla="*/ 426 w 6186"/>
                  <a:gd name="T15" fmla="*/ 4199 h 4712"/>
                  <a:gd name="T16" fmla="*/ 514 w 6186"/>
                  <a:gd name="T17" fmla="*/ 4288 h 4712"/>
                  <a:gd name="T18" fmla="*/ 627 w 6186"/>
                  <a:gd name="T19" fmla="*/ 4346 h 4712"/>
                  <a:gd name="T20" fmla="*/ 756 w 6186"/>
                  <a:gd name="T21" fmla="*/ 4367 h 4712"/>
                  <a:gd name="T22" fmla="*/ 5498 w 6186"/>
                  <a:gd name="T23" fmla="*/ 4361 h 4712"/>
                  <a:gd name="T24" fmla="*/ 5620 w 6186"/>
                  <a:gd name="T25" fmla="*/ 4321 h 4712"/>
                  <a:gd name="T26" fmla="*/ 5721 w 6186"/>
                  <a:gd name="T27" fmla="*/ 4246 h 4712"/>
                  <a:gd name="T28" fmla="*/ 5796 w 6186"/>
                  <a:gd name="T29" fmla="*/ 4145 h 4712"/>
                  <a:gd name="T30" fmla="*/ 5837 w 6186"/>
                  <a:gd name="T31" fmla="*/ 4023 h 4712"/>
                  <a:gd name="T32" fmla="*/ 5841 w 6186"/>
                  <a:gd name="T33" fmla="*/ 3955 h 4712"/>
                  <a:gd name="T34" fmla="*/ 5835 w 6186"/>
                  <a:gd name="T35" fmla="*/ 693 h 4712"/>
                  <a:gd name="T36" fmla="*/ 5794 w 6186"/>
                  <a:gd name="T37" fmla="*/ 571 h 4712"/>
                  <a:gd name="T38" fmla="*/ 5721 w 6186"/>
                  <a:gd name="T39" fmla="*/ 470 h 4712"/>
                  <a:gd name="T40" fmla="*/ 5618 w 6186"/>
                  <a:gd name="T41" fmla="*/ 395 h 4712"/>
                  <a:gd name="T42" fmla="*/ 5496 w 6186"/>
                  <a:gd name="T43" fmla="*/ 353 h 4712"/>
                  <a:gd name="T44" fmla="*/ 756 w 6186"/>
                  <a:gd name="T45" fmla="*/ 348 h 4712"/>
                  <a:gd name="T46" fmla="*/ 5430 w 6186"/>
                  <a:gd name="T47" fmla="*/ 0 h 4712"/>
                  <a:gd name="T48" fmla="*/ 5618 w 6186"/>
                  <a:gd name="T49" fmla="*/ 25 h 4712"/>
                  <a:gd name="T50" fmla="*/ 5787 w 6186"/>
                  <a:gd name="T51" fmla="*/ 90 h 4712"/>
                  <a:gd name="T52" fmla="*/ 5933 w 6186"/>
                  <a:gd name="T53" fmla="*/ 194 h 4712"/>
                  <a:gd name="T54" fmla="*/ 6051 w 6186"/>
                  <a:gd name="T55" fmla="*/ 327 h 4712"/>
                  <a:gd name="T56" fmla="*/ 6136 w 6186"/>
                  <a:gd name="T57" fmla="*/ 487 h 4712"/>
                  <a:gd name="T58" fmla="*/ 6181 w 6186"/>
                  <a:gd name="T59" fmla="*/ 665 h 4712"/>
                  <a:gd name="T60" fmla="*/ 6186 w 6186"/>
                  <a:gd name="T61" fmla="*/ 3955 h 4712"/>
                  <a:gd name="T62" fmla="*/ 6164 w 6186"/>
                  <a:gd name="T63" fmla="*/ 4143 h 4712"/>
                  <a:gd name="T64" fmla="*/ 6098 w 6186"/>
                  <a:gd name="T65" fmla="*/ 4312 h 4712"/>
                  <a:gd name="T66" fmla="*/ 5995 w 6186"/>
                  <a:gd name="T67" fmla="*/ 4459 h 4712"/>
                  <a:gd name="T68" fmla="*/ 5862 w 6186"/>
                  <a:gd name="T69" fmla="*/ 4577 h 4712"/>
                  <a:gd name="T70" fmla="*/ 5702 w 6186"/>
                  <a:gd name="T71" fmla="*/ 4661 h 4712"/>
                  <a:gd name="T72" fmla="*/ 5524 w 6186"/>
                  <a:gd name="T73" fmla="*/ 4706 h 4712"/>
                  <a:gd name="T74" fmla="*/ 756 w 6186"/>
                  <a:gd name="T75" fmla="*/ 4712 h 4712"/>
                  <a:gd name="T76" fmla="*/ 570 w 6186"/>
                  <a:gd name="T77" fmla="*/ 4690 h 4712"/>
                  <a:gd name="T78" fmla="*/ 402 w 6186"/>
                  <a:gd name="T79" fmla="*/ 4624 h 4712"/>
                  <a:gd name="T80" fmla="*/ 255 w 6186"/>
                  <a:gd name="T81" fmla="*/ 4522 h 4712"/>
                  <a:gd name="T82" fmla="*/ 135 w 6186"/>
                  <a:gd name="T83" fmla="*/ 4389 h 4712"/>
                  <a:gd name="T84" fmla="*/ 51 w 6186"/>
                  <a:gd name="T85" fmla="*/ 4229 h 4712"/>
                  <a:gd name="T86" fmla="*/ 6 w 6186"/>
                  <a:gd name="T87" fmla="*/ 4051 h 4712"/>
                  <a:gd name="T88" fmla="*/ 0 w 6186"/>
                  <a:gd name="T89" fmla="*/ 759 h 4712"/>
                  <a:gd name="T90" fmla="*/ 23 w 6186"/>
                  <a:gd name="T91" fmla="*/ 571 h 4712"/>
                  <a:gd name="T92" fmla="*/ 88 w 6186"/>
                  <a:gd name="T93" fmla="*/ 402 h 4712"/>
                  <a:gd name="T94" fmla="*/ 191 w 6186"/>
                  <a:gd name="T95" fmla="*/ 256 h 4712"/>
                  <a:gd name="T96" fmla="*/ 325 w 6186"/>
                  <a:gd name="T97" fmla="*/ 137 h 4712"/>
                  <a:gd name="T98" fmla="*/ 484 w 6186"/>
                  <a:gd name="T99" fmla="*/ 53 h 4712"/>
                  <a:gd name="T100" fmla="*/ 662 w 6186"/>
                  <a:gd name="T101" fmla="*/ 8 h 4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86" h="4712">
                    <a:moveTo>
                      <a:pt x="756" y="348"/>
                    </a:moveTo>
                    <a:lnTo>
                      <a:pt x="691" y="353"/>
                    </a:lnTo>
                    <a:lnTo>
                      <a:pt x="627" y="370"/>
                    </a:lnTo>
                    <a:lnTo>
                      <a:pt x="569" y="395"/>
                    </a:lnTo>
                    <a:lnTo>
                      <a:pt x="514" y="428"/>
                    </a:lnTo>
                    <a:lnTo>
                      <a:pt x="465" y="470"/>
                    </a:lnTo>
                    <a:lnTo>
                      <a:pt x="426" y="517"/>
                    </a:lnTo>
                    <a:lnTo>
                      <a:pt x="392" y="571"/>
                    </a:lnTo>
                    <a:lnTo>
                      <a:pt x="366" y="629"/>
                    </a:lnTo>
                    <a:lnTo>
                      <a:pt x="351" y="693"/>
                    </a:lnTo>
                    <a:lnTo>
                      <a:pt x="345" y="759"/>
                    </a:lnTo>
                    <a:lnTo>
                      <a:pt x="345" y="3955"/>
                    </a:lnTo>
                    <a:lnTo>
                      <a:pt x="351" y="4023"/>
                    </a:lnTo>
                    <a:lnTo>
                      <a:pt x="366" y="4085"/>
                    </a:lnTo>
                    <a:lnTo>
                      <a:pt x="392" y="4145"/>
                    </a:lnTo>
                    <a:lnTo>
                      <a:pt x="426" y="4199"/>
                    </a:lnTo>
                    <a:lnTo>
                      <a:pt x="465" y="4246"/>
                    </a:lnTo>
                    <a:lnTo>
                      <a:pt x="514" y="4288"/>
                    </a:lnTo>
                    <a:lnTo>
                      <a:pt x="569" y="4321"/>
                    </a:lnTo>
                    <a:lnTo>
                      <a:pt x="627" y="4346"/>
                    </a:lnTo>
                    <a:lnTo>
                      <a:pt x="691" y="4361"/>
                    </a:lnTo>
                    <a:lnTo>
                      <a:pt x="756" y="4367"/>
                    </a:lnTo>
                    <a:lnTo>
                      <a:pt x="5430" y="4367"/>
                    </a:lnTo>
                    <a:lnTo>
                      <a:pt x="5498" y="4361"/>
                    </a:lnTo>
                    <a:lnTo>
                      <a:pt x="5562" y="4346"/>
                    </a:lnTo>
                    <a:lnTo>
                      <a:pt x="5620" y="4321"/>
                    </a:lnTo>
                    <a:lnTo>
                      <a:pt x="5674" y="4288"/>
                    </a:lnTo>
                    <a:lnTo>
                      <a:pt x="5721" y="4246"/>
                    </a:lnTo>
                    <a:lnTo>
                      <a:pt x="5762" y="4199"/>
                    </a:lnTo>
                    <a:lnTo>
                      <a:pt x="5796" y="4145"/>
                    </a:lnTo>
                    <a:lnTo>
                      <a:pt x="5820" y="4085"/>
                    </a:lnTo>
                    <a:lnTo>
                      <a:pt x="5837" y="4023"/>
                    </a:lnTo>
                    <a:lnTo>
                      <a:pt x="5841" y="3955"/>
                    </a:lnTo>
                    <a:lnTo>
                      <a:pt x="5841" y="3955"/>
                    </a:lnTo>
                    <a:lnTo>
                      <a:pt x="5841" y="759"/>
                    </a:lnTo>
                    <a:lnTo>
                      <a:pt x="5835" y="693"/>
                    </a:lnTo>
                    <a:lnTo>
                      <a:pt x="5820" y="629"/>
                    </a:lnTo>
                    <a:lnTo>
                      <a:pt x="5794" y="571"/>
                    </a:lnTo>
                    <a:lnTo>
                      <a:pt x="5760" y="517"/>
                    </a:lnTo>
                    <a:lnTo>
                      <a:pt x="5721" y="470"/>
                    </a:lnTo>
                    <a:lnTo>
                      <a:pt x="5672" y="428"/>
                    </a:lnTo>
                    <a:lnTo>
                      <a:pt x="5618" y="395"/>
                    </a:lnTo>
                    <a:lnTo>
                      <a:pt x="5560" y="370"/>
                    </a:lnTo>
                    <a:lnTo>
                      <a:pt x="5496" y="353"/>
                    </a:lnTo>
                    <a:lnTo>
                      <a:pt x="5430" y="348"/>
                    </a:lnTo>
                    <a:lnTo>
                      <a:pt x="756" y="348"/>
                    </a:lnTo>
                    <a:close/>
                    <a:moveTo>
                      <a:pt x="756" y="0"/>
                    </a:moveTo>
                    <a:lnTo>
                      <a:pt x="5430" y="0"/>
                    </a:lnTo>
                    <a:lnTo>
                      <a:pt x="5526" y="8"/>
                    </a:lnTo>
                    <a:lnTo>
                      <a:pt x="5618" y="25"/>
                    </a:lnTo>
                    <a:lnTo>
                      <a:pt x="5704" y="53"/>
                    </a:lnTo>
                    <a:lnTo>
                      <a:pt x="5787" y="90"/>
                    </a:lnTo>
                    <a:lnTo>
                      <a:pt x="5864" y="137"/>
                    </a:lnTo>
                    <a:lnTo>
                      <a:pt x="5933" y="194"/>
                    </a:lnTo>
                    <a:lnTo>
                      <a:pt x="5997" y="256"/>
                    </a:lnTo>
                    <a:lnTo>
                      <a:pt x="6051" y="327"/>
                    </a:lnTo>
                    <a:lnTo>
                      <a:pt x="6098" y="404"/>
                    </a:lnTo>
                    <a:lnTo>
                      <a:pt x="6136" y="487"/>
                    </a:lnTo>
                    <a:lnTo>
                      <a:pt x="6164" y="573"/>
                    </a:lnTo>
                    <a:lnTo>
                      <a:pt x="6181" y="665"/>
                    </a:lnTo>
                    <a:lnTo>
                      <a:pt x="6186" y="759"/>
                    </a:lnTo>
                    <a:lnTo>
                      <a:pt x="6186" y="3955"/>
                    </a:lnTo>
                    <a:lnTo>
                      <a:pt x="6181" y="4051"/>
                    </a:lnTo>
                    <a:lnTo>
                      <a:pt x="6164" y="4143"/>
                    </a:lnTo>
                    <a:lnTo>
                      <a:pt x="6136" y="4229"/>
                    </a:lnTo>
                    <a:lnTo>
                      <a:pt x="6098" y="4312"/>
                    </a:lnTo>
                    <a:lnTo>
                      <a:pt x="6051" y="4389"/>
                    </a:lnTo>
                    <a:lnTo>
                      <a:pt x="5995" y="4459"/>
                    </a:lnTo>
                    <a:lnTo>
                      <a:pt x="5931" y="4522"/>
                    </a:lnTo>
                    <a:lnTo>
                      <a:pt x="5862" y="4577"/>
                    </a:lnTo>
                    <a:lnTo>
                      <a:pt x="5785" y="4624"/>
                    </a:lnTo>
                    <a:lnTo>
                      <a:pt x="5702" y="4661"/>
                    </a:lnTo>
                    <a:lnTo>
                      <a:pt x="5616" y="4690"/>
                    </a:lnTo>
                    <a:lnTo>
                      <a:pt x="5524" y="4706"/>
                    </a:lnTo>
                    <a:lnTo>
                      <a:pt x="5430" y="4712"/>
                    </a:lnTo>
                    <a:lnTo>
                      <a:pt x="756" y="4712"/>
                    </a:lnTo>
                    <a:lnTo>
                      <a:pt x="662" y="4706"/>
                    </a:lnTo>
                    <a:lnTo>
                      <a:pt x="570" y="4690"/>
                    </a:lnTo>
                    <a:lnTo>
                      <a:pt x="484" y="4661"/>
                    </a:lnTo>
                    <a:lnTo>
                      <a:pt x="402" y="4624"/>
                    </a:lnTo>
                    <a:lnTo>
                      <a:pt x="325" y="4577"/>
                    </a:lnTo>
                    <a:lnTo>
                      <a:pt x="255" y="4522"/>
                    </a:lnTo>
                    <a:lnTo>
                      <a:pt x="191" y="4459"/>
                    </a:lnTo>
                    <a:lnTo>
                      <a:pt x="135" y="4389"/>
                    </a:lnTo>
                    <a:lnTo>
                      <a:pt x="88" y="4312"/>
                    </a:lnTo>
                    <a:lnTo>
                      <a:pt x="51" y="4229"/>
                    </a:lnTo>
                    <a:lnTo>
                      <a:pt x="23" y="4143"/>
                    </a:lnTo>
                    <a:lnTo>
                      <a:pt x="6" y="4051"/>
                    </a:lnTo>
                    <a:lnTo>
                      <a:pt x="0" y="3955"/>
                    </a:lnTo>
                    <a:lnTo>
                      <a:pt x="0" y="759"/>
                    </a:lnTo>
                    <a:lnTo>
                      <a:pt x="6" y="663"/>
                    </a:lnTo>
                    <a:lnTo>
                      <a:pt x="23" y="571"/>
                    </a:lnTo>
                    <a:lnTo>
                      <a:pt x="51" y="485"/>
                    </a:lnTo>
                    <a:lnTo>
                      <a:pt x="88" y="402"/>
                    </a:lnTo>
                    <a:lnTo>
                      <a:pt x="135" y="325"/>
                    </a:lnTo>
                    <a:lnTo>
                      <a:pt x="191" y="256"/>
                    </a:lnTo>
                    <a:lnTo>
                      <a:pt x="255" y="192"/>
                    </a:lnTo>
                    <a:lnTo>
                      <a:pt x="325" y="137"/>
                    </a:lnTo>
                    <a:lnTo>
                      <a:pt x="402" y="90"/>
                    </a:lnTo>
                    <a:lnTo>
                      <a:pt x="484" y="53"/>
                    </a:lnTo>
                    <a:lnTo>
                      <a:pt x="570" y="25"/>
                    </a:lnTo>
                    <a:lnTo>
                      <a:pt x="662" y="8"/>
                    </a:lnTo>
                    <a:lnTo>
                      <a:pt x="7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72">
                <a:extLst>
                  <a:ext uri="{FF2B5EF4-FFF2-40B4-BE49-F238E27FC236}">
                    <a16:creationId xmlns:a16="http://schemas.microsoft.com/office/drawing/2014/main" id="{7BD99650-BEFB-425F-96E3-36592D0B0F27}"/>
                  </a:ext>
                </a:extLst>
              </p:cNvPr>
              <p:cNvSpPr>
                <a:spLocks/>
              </p:cNvSpPr>
              <p:nvPr/>
            </p:nvSpPr>
            <p:spPr bwMode="auto">
              <a:xfrm>
                <a:off x="12903201" y="6292850"/>
                <a:ext cx="3778250" cy="2701925"/>
              </a:xfrm>
              <a:custGeom>
                <a:avLst/>
                <a:gdLst>
                  <a:gd name="T0" fmla="*/ 221 w 4760"/>
                  <a:gd name="T1" fmla="*/ 5 h 3402"/>
                  <a:gd name="T2" fmla="*/ 289 w 4760"/>
                  <a:gd name="T3" fmla="*/ 43 h 3402"/>
                  <a:gd name="T4" fmla="*/ 1961 w 4760"/>
                  <a:gd name="T5" fmla="*/ 1538 h 3402"/>
                  <a:gd name="T6" fmla="*/ 1974 w 4760"/>
                  <a:gd name="T7" fmla="*/ 1553 h 3402"/>
                  <a:gd name="T8" fmla="*/ 2383 w 4760"/>
                  <a:gd name="T9" fmla="*/ 1919 h 3402"/>
                  <a:gd name="T10" fmla="*/ 4503 w 4760"/>
                  <a:gd name="T11" fmla="*/ 20 h 3402"/>
                  <a:gd name="T12" fmla="*/ 4576 w 4760"/>
                  <a:gd name="T13" fmla="*/ 0 h 3402"/>
                  <a:gd name="T14" fmla="*/ 4650 w 4760"/>
                  <a:gd name="T15" fmla="*/ 13 h 3402"/>
                  <a:gd name="T16" fmla="*/ 4713 w 4760"/>
                  <a:gd name="T17" fmla="*/ 56 h 3402"/>
                  <a:gd name="T18" fmla="*/ 4753 w 4760"/>
                  <a:gd name="T19" fmla="*/ 125 h 3402"/>
                  <a:gd name="T20" fmla="*/ 4757 w 4760"/>
                  <a:gd name="T21" fmla="*/ 201 h 3402"/>
                  <a:gd name="T22" fmla="*/ 4728 w 4760"/>
                  <a:gd name="T23" fmla="*/ 272 h 3402"/>
                  <a:gd name="T24" fmla="*/ 3188 w 4760"/>
                  <a:gd name="T25" fmla="*/ 1660 h 3402"/>
                  <a:gd name="T26" fmla="*/ 4734 w 4760"/>
                  <a:gd name="T27" fmla="*/ 3134 h 3402"/>
                  <a:gd name="T28" fmla="*/ 4760 w 4760"/>
                  <a:gd name="T29" fmla="*/ 3205 h 3402"/>
                  <a:gd name="T30" fmla="*/ 4753 w 4760"/>
                  <a:gd name="T31" fmla="*/ 3280 h 3402"/>
                  <a:gd name="T32" fmla="*/ 4713 w 4760"/>
                  <a:gd name="T33" fmla="*/ 3348 h 3402"/>
                  <a:gd name="T34" fmla="*/ 4655 w 4760"/>
                  <a:gd name="T35" fmla="*/ 3387 h 3402"/>
                  <a:gd name="T36" fmla="*/ 4590 w 4760"/>
                  <a:gd name="T37" fmla="*/ 3402 h 3402"/>
                  <a:gd name="T38" fmla="*/ 4526 w 4760"/>
                  <a:gd name="T39" fmla="*/ 3389 h 3402"/>
                  <a:gd name="T40" fmla="*/ 4470 w 4760"/>
                  <a:gd name="T41" fmla="*/ 3354 h 3402"/>
                  <a:gd name="T42" fmla="*/ 2499 w 4760"/>
                  <a:gd name="T43" fmla="*/ 2278 h 3402"/>
                  <a:gd name="T44" fmla="*/ 2445 w 4760"/>
                  <a:gd name="T45" fmla="*/ 2311 h 3402"/>
                  <a:gd name="T46" fmla="*/ 2385 w 4760"/>
                  <a:gd name="T47" fmla="*/ 2323 h 3402"/>
                  <a:gd name="T48" fmla="*/ 2325 w 4760"/>
                  <a:gd name="T49" fmla="*/ 2311 h 3402"/>
                  <a:gd name="T50" fmla="*/ 2269 w 4760"/>
                  <a:gd name="T51" fmla="*/ 2279 h 3402"/>
                  <a:gd name="T52" fmla="*/ 302 w 4760"/>
                  <a:gd name="T53" fmla="*/ 3354 h 3402"/>
                  <a:gd name="T54" fmla="*/ 246 w 4760"/>
                  <a:gd name="T55" fmla="*/ 3387 h 3402"/>
                  <a:gd name="T56" fmla="*/ 184 w 4760"/>
                  <a:gd name="T57" fmla="*/ 3399 h 3402"/>
                  <a:gd name="T58" fmla="*/ 116 w 4760"/>
                  <a:gd name="T59" fmla="*/ 3386 h 3402"/>
                  <a:gd name="T60" fmla="*/ 58 w 4760"/>
                  <a:gd name="T61" fmla="*/ 3344 h 3402"/>
                  <a:gd name="T62" fmla="*/ 19 w 4760"/>
                  <a:gd name="T63" fmla="*/ 3277 h 3402"/>
                  <a:gd name="T64" fmla="*/ 13 w 4760"/>
                  <a:gd name="T65" fmla="*/ 3201 h 3402"/>
                  <a:gd name="T66" fmla="*/ 39 w 4760"/>
                  <a:gd name="T67" fmla="*/ 3130 h 3402"/>
                  <a:gd name="T68" fmla="*/ 1589 w 4760"/>
                  <a:gd name="T69" fmla="*/ 1671 h 3402"/>
                  <a:gd name="T70" fmla="*/ 32 w 4760"/>
                  <a:gd name="T71" fmla="*/ 272 h 3402"/>
                  <a:gd name="T72" fmla="*/ 4 w 4760"/>
                  <a:gd name="T73" fmla="*/ 201 h 3402"/>
                  <a:gd name="T74" fmla="*/ 8 w 4760"/>
                  <a:gd name="T75" fmla="*/ 125 h 3402"/>
                  <a:gd name="T76" fmla="*/ 45 w 4760"/>
                  <a:gd name="T77" fmla="*/ 56 h 3402"/>
                  <a:gd name="T78" fmla="*/ 109 w 4760"/>
                  <a:gd name="T79" fmla="*/ 11 h 3402"/>
                  <a:gd name="T80" fmla="*/ 184 w 4760"/>
                  <a:gd name="T81" fmla="*/ 0 h 3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60" h="3402">
                    <a:moveTo>
                      <a:pt x="184" y="0"/>
                    </a:moveTo>
                    <a:lnTo>
                      <a:pt x="221" y="5"/>
                    </a:lnTo>
                    <a:lnTo>
                      <a:pt x="257" y="20"/>
                    </a:lnTo>
                    <a:lnTo>
                      <a:pt x="289" y="43"/>
                    </a:lnTo>
                    <a:lnTo>
                      <a:pt x="1946" y="1526"/>
                    </a:lnTo>
                    <a:lnTo>
                      <a:pt x="1961" y="1538"/>
                    </a:lnTo>
                    <a:lnTo>
                      <a:pt x="1974" y="1551"/>
                    </a:lnTo>
                    <a:lnTo>
                      <a:pt x="1974" y="1553"/>
                    </a:lnTo>
                    <a:lnTo>
                      <a:pt x="1976" y="1555"/>
                    </a:lnTo>
                    <a:lnTo>
                      <a:pt x="2383" y="1919"/>
                    </a:lnTo>
                    <a:lnTo>
                      <a:pt x="4470" y="45"/>
                    </a:lnTo>
                    <a:lnTo>
                      <a:pt x="4503" y="20"/>
                    </a:lnTo>
                    <a:lnTo>
                      <a:pt x="4539" y="5"/>
                    </a:lnTo>
                    <a:lnTo>
                      <a:pt x="4576" y="0"/>
                    </a:lnTo>
                    <a:lnTo>
                      <a:pt x="4614" y="1"/>
                    </a:lnTo>
                    <a:lnTo>
                      <a:pt x="4650" y="13"/>
                    </a:lnTo>
                    <a:lnTo>
                      <a:pt x="4683" y="30"/>
                    </a:lnTo>
                    <a:lnTo>
                      <a:pt x="4713" y="56"/>
                    </a:lnTo>
                    <a:lnTo>
                      <a:pt x="4738" y="90"/>
                    </a:lnTo>
                    <a:lnTo>
                      <a:pt x="4753" y="125"/>
                    </a:lnTo>
                    <a:lnTo>
                      <a:pt x="4758" y="163"/>
                    </a:lnTo>
                    <a:lnTo>
                      <a:pt x="4757" y="201"/>
                    </a:lnTo>
                    <a:lnTo>
                      <a:pt x="4745" y="238"/>
                    </a:lnTo>
                    <a:lnTo>
                      <a:pt x="4728" y="272"/>
                    </a:lnTo>
                    <a:lnTo>
                      <a:pt x="4702" y="302"/>
                    </a:lnTo>
                    <a:lnTo>
                      <a:pt x="3188" y="1660"/>
                    </a:lnTo>
                    <a:lnTo>
                      <a:pt x="4708" y="3104"/>
                    </a:lnTo>
                    <a:lnTo>
                      <a:pt x="4734" y="3134"/>
                    </a:lnTo>
                    <a:lnTo>
                      <a:pt x="4751" y="3168"/>
                    </a:lnTo>
                    <a:lnTo>
                      <a:pt x="4760" y="3205"/>
                    </a:lnTo>
                    <a:lnTo>
                      <a:pt x="4760" y="3243"/>
                    </a:lnTo>
                    <a:lnTo>
                      <a:pt x="4753" y="3280"/>
                    </a:lnTo>
                    <a:lnTo>
                      <a:pt x="4738" y="3316"/>
                    </a:lnTo>
                    <a:lnTo>
                      <a:pt x="4713" y="3348"/>
                    </a:lnTo>
                    <a:lnTo>
                      <a:pt x="4687" y="3371"/>
                    </a:lnTo>
                    <a:lnTo>
                      <a:pt x="4655" y="3387"/>
                    </a:lnTo>
                    <a:lnTo>
                      <a:pt x="4623" y="3399"/>
                    </a:lnTo>
                    <a:lnTo>
                      <a:pt x="4590" y="3402"/>
                    </a:lnTo>
                    <a:lnTo>
                      <a:pt x="4558" y="3399"/>
                    </a:lnTo>
                    <a:lnTo>
                      <a:pt x="4526" y="3389"/>
                    </a:lnTo>
                    <a:lnTo>
                      <a:pt x="4496" y="3374"/>
                    </a:lnTo>
                    <a:lnTo>
                      <a:pt x="4470" y="3354"/>
                    </a:lnTo>
                    <a:lnTo>
                      <a:pt x="2931" y="1891"/>
                    </a:lnTo>
                    <a:lnTo>
                      <a:pt x="2499" y="2278"/>
                    </a:lnTo>
                    <a:lnTo>
                      <a:pt x="2475" y="2298"/>
                    </a:lnTo>
                    <a:lnTo>
                      <a:pt x="2445" y="2311"/>
                    </a:lnTo>
                    <a:lnTo>
                      <a:pt x="2415" y="2321"/>
                    </a:lnTo>
                    <a:lnTo>
                      <a:pt x="2385" y="2323"/>
                    </a:lnTo>
                    <a:lnTo>
                      <a:pt x="2355" y="2321"/>
                    </a:lnTo>
                    <a:lnTo>
                      <a:pt x="2325" y="2311"/>
                    </a:lnTo>
                    <a:lnTo>
                      <a:pt x="2295" y="2298"/>
                    </a:lnTo>
                    <a:lnTo>
                      <a:pt x="2269" y="2279"/>
                    </a:lnTo>
                    <a:lnTo>
                      <a:pt x="1850" y="1904"/>
                    </a:lnTo>
                    <a:lnTo>
                      <a:pt x="302" y="3354"/>
                    </a:lnTo>
                    <a:lnTo>
                      <a:pt x="276" y="3372"/>
                    </a:lnTo>
                    <a:lnTo>
                      <a:pt x="246" y="3387"/>
                    </a:lnTo>
                    <a:lnTo>
                      <a:pt x="216" y="3397"/>
                    </a:lnTo>
                    <a:lnTo>
                      <a:pt x="184" y="3399"/>
                    </a:lnTo>
                    <a:lnTo>
                      <a:pt x="150" y="3395"/>
                    </a:lnTo>
                    <a:lnTo>
                      <a:pt x="116" y="3386"/>
                    </a:lnTo>
                    <a:lnTo>
                      <a:pt x="86" y="3369"/>
                    </a:lnTo>
                    <a:lnTo>
                      <a:pt x="58" y="3344"/>
                    </a:lnTo>
                    <a:lnTo>
                      <a:pt x="34" y="3312"/>
                    </a:lnTo>
                    <a:lnTo>
                      <a:pt x="19" y="3277"/>
                    </a:lnTo>
                    <a:lnTo>
                      <a:pt x="11" y="3239"/>
                    </a:lnTo>
                    <a:lnTo>
                      <a:pt x="13" y="3201"/>
                    </a:lnTo>
                    <a:lnTo>
                      <a:pt x="23" y="3164"/>
                    </a:lnTo>
                    <a:lnTo>
                      <a:pt x="39" y="3130"/>
                    </a:lnTo>
                    <a:lnTo>
                      <a:pt x="66" y="3100"/>
                    </a:lnTo>
                    <a:lnTo>
                      <a:pt x="1589" y="1671"/>
                    </a:lnTo>
                    <a:lnTo>
                      <a:pt x="58" y="302"/>
                    </a:lnTo>
                    <a:lnTo>
                      <a:pt x="32" y="272"/>
                    </a:lnTo>
                    <a:lnTo>
                      <a:pt x="13" y="238"/>
                    </a:lnTo>
                    <a:lnTo>
                      <a:pt x="4" y="201"/>
                    </a:lnTo>
                    <a:lnTo>
                      <a:pt x="0" y="163"/>
                    </a:lnTo>
                    <a:lnTo>
                      <a:pt x="8" y="125"/>
                    </a:lnTo>
                    <a:lnTo>
                      <a:pt x="23" y="90"/>
                    </a:lnTo>
                    <a:lnTo>
                      <a:pt x="45" y="56"/>
                    </a:lnTo>
                    <a:lnTo>
                      <a:pt x="75" y="30"/>
                    </a:lnTo>
                    <a:lnTo>
                      <a:pt x="109" y="11"/>
                    </a:lnTo>
                    <a:lnTo>
                      <a:pt x="144" y="1"/>
                    </a:lnTo>
                    <a:lnTo>
                      <a:pt x="1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 name="Oval 12">
              <a:extLst>
                <a:ext uri="{FF2B5EF4-FFF2-40B4-BE49-F238E27FC236}">
                  <a16:creationId xmlns:a16="http://schemas.microsoft.com/office/drawing/2014/main" id="{C815B68D-E9A2-4C51-BF43-63795B71B7FB}"/>
                </a:ext>
              </a:extLst>
            </p:cNvPr>
            <p:cNvSpPr/>
            <p:nvPr/>
          </p:nvSpPr>
          <p:spPr>
            <a:xfrm>
              <a:off x="5893486" y="4650724"/>
              <a:ext cx="792000" cy="792000"/>
            </a:xfrm>
            <a:prstGeom prst="ellipse">
              <a:avLst/>
            </a:prstGeom>
            <a:noFill/>
            <a:ln w="19050" cap="flat" cmpd="sng" algn="ctr">
              <a:solidFill>
                <a:schemeClr val="bg1">
                  <a:lumMod val="10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559EA734-3CBC-45F5-B5A9-02ACAD9AF219}"/>
              </a:ext>
            </a:extLst>
          </p:cNvPr>
          <p:cNvGrpSpPr>
            <a:grpSpLocks/>
          </p:cNvGrpSpPr>
          <p:nvPr userDrawn="1"/>
        </p:nvGrpSpPr>
        <p:grpSpPr>
          <a:xfrm>
            <a:off x="8319989" y="4041034"/>
            <a:ext cx="792000" cy="792000"/>
            <a:chOff x="8359579" y="4650724"/>
            <a:chExt cx="792000" cy="792000"/>
          </a:xfrm>
        </p:grpSpPr>
        <p:grpSp>
          <p:nvGrpSpPr>
            <p:cNvPr id="17" name="Group 16">
              <a:extLst>
                <a:ext uri="{FF2B5EF4-FFF2-40B4-BE49-F238E27FC236}">
                  <a16:creationId xmlns:a16="http://schemas.microsoft.com/office/drawing/2014/main" id="{F8DCFB96-4B07-424B-B0A5-C3B839C7124B}"/>
                </a:ext>
              </a:extLst>
            </p:cNvPr>
            <p:cNvGrpSpPr>
              <a:grpSpLocks noChangeAspect="1"/>
            </p:cNvGrpSpPr>
            <p:nvPr/>
          </p:nvGrpSpPr>
          <p:grpSpPr>
            <a:xfrm>
              <a:off x="8593834" y="4844873"/>
              <a:ext cx="323490" cy="403703"/>
              <a:chOff x="-708026" y="-4429125"/>
              <a:chExt cx="3886201" cy="4849813"/>
            </a:xfrm>
            <a:solidFill>
              <a:schemeClr val="accent6"/>
            </a:solidFill>
          </p:grpSpPr>
          <p:sp>
            <p:nvSpPr>
              <p:cNvPr id="19" name="Freeform 49">
                <a:extLst>
                  <a:ext uri="{FF2B5EF4-FFF2-40B4-BE49-F238E27FC236}">
                    <a16:creationId xmlns:a16="http://schemas.microsoft.com/office/drawing/2014/main" id="{F14AF807-E336-4C2A-9FD6-BA7EB67E270B}"/>
                  </a:ext>
                </a:extLst>
              </p:cNvPr>
              <p:cNvSpPr>
                <a:spLocks noEditPoints="1"/>
              </p:cNvSpPr>
              <p:nvPr/>
            </p:nvSpPr>
            <p:spPr bwMode="auto">
              <a:xfrm>
                <a:off x="-708026" y="-4429125"/>
                <a:ext cx="3886201" cy="4849813"/>
              </a:xfrm>
              <a:custGeom>
                <a:avLst/>
                <a:gdLst>
                  <a:gd name="T0" fmla="*/ 1987 w 4895"/>
                  <a:gd name="T1" fmla="*/ 395 h 6109"/>
                  <a:gd name="T2" fmla="*/ 1431 w 4895"/>
                  <a:gd name="T3" fmla="*/ 609 h 6109"/>
                  <a:gd name="T4" fmla="*/ 963 w 4895"/>
                  <a:gd name="T5" fmla="*/ 962 h 6109"/>
                  <a:gd name="T6" fmla="*/ 609 w 4895"/>
                  <a:gd name="T7" fmla="*/ 1430 h 6109"/>
                  <a:gd name="T8" fmla="*/ 397 w 4895"/>
                  <a:gd name="T9" fmla="*/ 1988 h 6109"/>
                  <a:gd name="T10" fmla="*/ 351 w 4895"/>
                  <a:gd name="T11" fmla="*/ 2582 h 6109"/>
                  <a:gd name="T12" fmla="*/ 386 w 4895"/>
                  <a:gd name="T13" fmla="*/ 2854 h 6109"/>
                  <a:gd name="T14" fmla="*/ 397 w 4895"/>
                  <a:gd name="T15" fmla="*/ 2911 h 6109"/>
                  <a:gd name="T16" fmla="*/ 540 w 4895"/>
                  <a:gd name="T17" fmla="*/ 3331 h 6109"/>
                  <a:gd name="T18" fmla="*/ 587 w 4895"/>
                  <a:gd name="T19" fmla="*/ 3441 h 6109"/>
                  <a:gd name="T20" fmla="*/ 835 w 4895"/>
                  <a:gd name="T21" fmla="*/ 3909 h 6109"/>
                  <a:gd name="T22" fmla="*/ 1210 w 4895"/>
                  <a:gd name="T23" fmla="*/ 4455 h 6109"/>
                  <a:gd name="T24" fmla="*/ 1739 w 4895"/>
                  <a:gd name="T25" fmla="*/ 5063 h 6109"/>
                  <a:gd name="T26" fmla="*/ 2446 w 4895"/>
                  <a:gd name="T27" fmla="*/ 5713 h 6109"/>
                  <a:gd name="T28" fmla="*/ 3155 w 4895"/>
                  <a:gd name="T29" fmla="*/ 5063 h 6109"/>
                  <a:gd name="T30" fmla="*/ 3682 w 4895"/>
                  <a:gd name="T31" fmla="*/ 4455 h 6109"/>
                  <a:gd name="T32" fmla="*/ 4058 w 4895"/>
                  <a:gd name="T33" fmla="*/ 3909 h 6109"/>
                  <a:gd name="T34" fmla="*/ 4305 w 4895"/>
                  <a:gd name="T35" fmla="*/ 3441 h 6109"/>
                  <a:gd name="T36" fmla="*/ 4353 w 4895"/>
                  <a:gd name="T37" fmla="*/ 3331 h 6109"/>
                  <a:gd name="T38" fmla="*/ 4496 w 4895"/>
                  <a:gd name="T39" fmla="*/ 2911 h 6109"/>
                  <a:gd name="T40" fmla="*/ 4507 w 4895"/>
                  <a:gd name="T41" fmla="*/ 2852 h 6109"/>
                  <a:gd name="T42" fmla="*/ 4546 w 4895"/>
                  <a:gd name="T43" fmla="*/ 2449 h 6109"/>
                  <a:gd name="T44" fmla="*/ 4457 w 4895"/>
                  <a:gd name="T45" fmla="*/ 1841 h 6109"/>
                  <a:gd name="T46" fmla="*/ 4209 w 4895"/>
                  <a:gd name="T47" fmla="*/ 1304 h 6109"/>
                  <a:gd name="T48" fmla="*/ 3823 w 4895"/>
                  <a:gd name="T49" fmla="*/ 862 h 6109"/>
                  <a:gd name="T50" fmla="*/ 3331 w 4895"/>
                  <a:gd name="T51" fmla="*/ 540 h 6109"/>
                  <a:gd name="T52" fmla="*/ 2756 w 4895"/>
                  <a:gd name="T53" fmla="*/ 367 h 6109"/>
                  <a:gd name="T54" fmla="*/ 2613 w 4895"/>
                  <a:gd name="T55" fmla="*/ 5 h 6109"/>
                  <a:gd name="T56" fmla="*/ 3249 w 4895"/>
                  <a:gd name="T57" fmla="*/ 135 h 6109"/>
                  <a:gd name="T58" fmla="*/ 3813 w 4895"/>
                  <a:gd name="T59" fmla="*/ 420 h 6109"/>
                  <a:gd name="T60" fmla="*/ 4283 w 4895"/>
                  <a:gd name="T61" fmla="*/ 832 h 6109"/>
                  <a:gd name="T62" fmla="*/ 4634 w 4895"/>
                  <a:gd name="T63" fmla="*/ 1352 h 6109"/>
                  <a:gd name="T64" fmla="*/ 4843 w 4895"/>
                  <a:gd name="T65" fmla="*/ 1956 h 6109"/>
                  <a:gd name="T66" fmla="*/ 4890 w 4895"/>
                  <a:gd name="T67" fmla="*/ 2603 h 6109"/>
                  <a:gd name="T68" fmla="*/ 4847 w 4895"/>
                  <a:gd name="T69" fmla="*/ 2936 h 6109"/>
                  <a:gd name="T70" fmla="*/ 4765 w 4895"/>
                  <a:gd name="T71" fmla="*/ 3237 h 6109"/>
                  <a:gd name="T72" fmla="*/ 4570 w 4895"/>
                  <a:gd name="T73" fmla="*/ 3694 h 6109"/>
                  <a:gd name="T74" fmla="*/ 4288 w 4895"/>
                  <a:gd name="T75" fmla="*/ 4197 h 6109"/>
                  <a:gd name="T76" fmla="*/ 3875 w 4895"/>
                  <a:gd name="T77" fmla="*/ 4771 h 6109"/>
                  <a:gd name="T78" fmla="*/ 3305 w 4895"/>
                  <a:gd name="T79" fmla="*/ 5403 h 6109"/>
                  <a:gd name="T80" fmla="*/ 2557 w 4895"/>
                  <a:gd name="T81" fmla="*/ 6072 h 6109"/>
                  <a:gd name="T82" fmla="*/ 2409 w 4895"/>
                  <a:gd name="T83" fmla="*/ 6106 h 6109"/>
                  <a:gd name="T84" fmla="*/ 1941 w 4895"/>
                  <a:gd name="T85" fmla="*/ 5734 h 6109"/>
                  <a:gd name="T86" fmla="*/ 1284 w 4895"/>
                  <a:gd name="T87" fmla="*/ 5082 h 6109"/>
                  <a:gd name="T88" fmla="*/ 796 w 4895"/>
                  <a:gd name="T89" fmla="*/ 4476 h 6109"/>
                  <a:gd name="T90" fmla="*/ 451 w 4895"/>
                  <a:gd name="T91" fmla="*/ 3935 h 6109"/>
                  <a:gd name="T92" fmla="*/ 225 w 4895"/>
                  <a:gd name="T93" fmla="*/ 3474 h 6109"/>
                  <a:gd name="T94" fmla="*/ 61 w 4895"/>
                  <a:gd name="T95" fmla="*/ 2991 h 6109"/>
                  <a:gd name="T96" fmla="*/ 45 w 4895"/>
                  <a:gd name="T97" fmla="*/ 2909 h 6109"/>
                  <a:gd name="T98" fmla="*/ 6 w 4895"/>
                  <a:gd name="T99" fmla="*/ 2281 h 6109"/>
                  <a:gd name="T100" fmla="*/ 136 w 4895"/>
                  <a:gd name="T101" fmla="*/ 1646 h 6109"/>
                  <a:gd name="T102" fmla="*/ 420 w 4895"/>
                  <a:gd name="T103" fmla="*/ 1081 h 6109"/>
                  <a:gd name="T104" fmla="*/ 831 w 4895"/>
                  <a:gd name="T105" fmla="*/ 611 h 6109"/>
                  <a:gd name="T106" fmla="*/ 1351 w 4895"/>
                  <a:gd name="T107" fmla="*/ 260 h 6109"/>
                  <a:gd name="T108" fmla="*/ 1954 w 4895"/>
                  <a:gd name="T109" fmla="*/ 50 h 6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95" h="6109">
                    <a:moveTo>
                      <a:pt x="2446" y="345"/>
                    </a:moveTo>
                    <a:lnTo>
                      <a:pt x="2290" y="351"/>
                    </a:lnTo>
                    <a:lnTo>
                      <a:pt x="2136" y="367"/>
                    </a:lnTo>
                    <a:lnTo>
                      <a:pt x="1987" y="395"/>
                    </a:lnTo>
                    <a:lnTo>
                      <a:pt x="1841" y="434"/>
                    </a:lnTo>
                    <a:lnTo>
                      <a:pt x="1700" y="483"/>
                    </a:lnTo>
                    <a:lnTo>
                      <a:pt x="1563" y="540"/>
                    </a:lnTo>
                    <a:lnTo>
                      <a:pt x="1431" y="609"/>
                    </a:lnTo>
                    <a:lnTo>
                      <a:pt x="1305" y="685"/>
                    </a:lnTo>
                    <a:lnTo>
                      <a:pt x="1184" y="769"/>
                    </a:lnTo>
                    <a:lnTo>
                      <a:pt x="1069" y="862"/>
                    </a:lnTo>
                    <a:lnTo>
                      <a:pt x="963" y="962"/>
                    </a:lnTo>
                    <a:lnTo>
                      <a:pt x="863" y="1070"/>
                    </a:lnTo>
                    <a:lnTo>
                      <a:pt x="770" y="1183"/>
                    </a:lnTo>
                    <a:lnTo>
                      <a:pt x="685" y="1304"/>
                    </a:lnTo>
                    <a:lnTo>
                      <a:pt x="609" y="1430"/>
                    </a:lnTo>
                    <a:lnTo>
                      <a:pt x="542" y="1562"/>
                    </a:lnTo>
                    <a:lnTo>
                      <a:pt x="484" y="1700"/>
                    </a:lnTo>
                    <a:lnTo>
                      <a:pt x="436" y="1841"/>
                    </a:lnTo>
                    <a:lnTo>
                      <a:pt x="397" y="1988"/>
                    </a:lnTo>
                    <a:lnTo>
                      <a:pt x="369" y="2138"/>
                    </a:lnTo>
                    <a:lnTo>
                      <a:pt x="353" y="2291"/>
                    </a:lnTo>
                    <a:lnTo>
                      <a:pt x="347" y="2449"/>
                    </a:lnTo>
                    <a:lnTo>
                      <a:pt x="351" y="2582"/>
                    </a:lnTo>
                    <a:lnTo>
                      <a:pt x="364" y="2716"/>
                    </a:lnTo>
                    <a:lnTo>
                      <a:pt x="384" y="2848"/>
                    </a:lnTo>
                    <a:lnTo>
                      <a:pt x="384" y="2852"/>
                    </a:lnTo>
                    <a:lnTo>
                      <a:pt x="386" y="2854"/>
                    </a:lnTo>
                    <a:lnTo>
                      <a:pt x="386" y="2857"/>
                    </a:lnTo>
                    <a:lnTo>
                      <a:pt x="388" y="2867"/>
                    </a:lnTo>
                    <a:lnTo>
                      <a:pt x="392" y="2885"/>
                    </a:lnTo>
                    <a:lnTo>
                      <a:pt x="397" y="2911"/>
                    </a:lnTo>
                    <a:lnTo>
                      <a:pt x="397" y="2915"/>
                    </a:lnTo>
                    <a:lnTo>
                      <a:pt x="436" y="3056"/>
                    </a:lnTo>
                    <a:lnTo>
                      <a:pt x="483" y="3196"/>
                    </a:lnTo>
                    <a:lnTo>
                      <a:pt x="540" y="3331"/>
                    </a:lnTo>
                    <a:lnTo>
                      <a:pt x="540" y="3333"/>
                    </a:lnTo>
                    <a:lnTo>
                      <a:pt x="540" y="3335"/>
                    </a:lnTo>
                    <a:lnTo>
                      <a:pt x="542" y="3337"/>
                    </a:lnTo>
                    <a:lnTo>
                      <a:pt x="587" y="3441"/>
                    </a:lnTo>
                    <a:lnTo>
                      <a:pt x="638" y="3549"/>
                    </a:lnTo>
                    <a:lnTo>
                      <a:pt x="698" y="3664"/>
                    </a:lnTo>
                    <a:lnTo>
                      <a:pt x="763" y="3785"/>
                    </a:lnTo>
                    <a:lnTo>
                      <a:pt x="835" y="3909"/>
                    </a:lnTo>
                    <a:lnTo>
                      <a:pt x="917" y="4039"/>
                    </a:lnTo>
                    <a:lnTo>
                      <a:pt x="1006" y="4175"/>
                    </a:lnTo>
                    <a:lnTo>
                      <a:pt x="1104" y="4314"/>
                    </a:lnTo>
                    <a:lnTo>
                      <a:pt x="1210" y="4455"/>
                    </a:lnTo>
                    <a:lnTo>
                      <a:pt x="1327" y="4604"/>
                    </a:lnTo>
                    <a:lnTo>
                      <a:pt x="1455" y="4753"/>
                    </a:lnTo>
                    <a:lnTo>
                      <a:pt x="1592" y="4907"/>
                    </a:lnTo>
                    <a:lnTo>
                      <a:pt x="1739" y="5063"/>
                    </a:lnTo>
                    <a:lnTo>
                      <a:pt x="1898" y="5223"/>
                    </a:lnTo>
                    <a:lnTo>
                      <a:pt x="2069" y="5385"/>
                    </a:lnTo>
                    <a:lnTo>
                      <a:pt x="2251" y="5548"/>
                    </a:lnTo>
                    <a:lnTo>
                      <a:pt x="2446" y="5713"/>
                    </a:lnTo>
                    <a:lnTo>
                      <a:pt x="2641" y="5548"/>
                    </a:lnTo>
                    <a:lnTo>
                      <a:pt x="2824" y="5385"/>
                    </a:lnTo>
                    <a:lnTo>
                      <a:pt x="2995" y="5223"/>
                    </a:lnTo>
                    <a:lnTo>
                      <a:pt x="3155" y="5063"/>
                    </a:lnTo>
                    <a:lnTo>
                      <a:pt x="3301" y="4907"/>
                    </a:lnTo>
                    <a:lnTo>
                      <a:pt x="3439" y="4753"/>
                    </a:lnTo>
                    <a:lnTo>
                      <a:pt x="3565" y="4604"/>
                    </a:lnTo>
                    <a:lnTo>
                      <a:pt x="3682" y="4455"/>
                    </a:lnTo>
                    <a:lnTo>
                      <a:pt x="3789" y="4314"/>
                    </a:lnTo>
                    <a:lnTo>
                      <a:pt x="3888" y="4175"/>
                    </a:lnTo>
                    <a:lnTo>
                      <a:pt x="3977" y="4039"/>
                    </a:lnTo>
                    <a:lnTo>
                      <a:pt x="4058" y="3909"/>
                    </a:lnTo>
                    <a:lnTo>
                      <a:pt x="4131" y="3785"/>
                    </a:lnTo>
                    <a:lnTo>
                      <a:pt x="4196" y="3664"/>
                    </a:lnTo>
                    <a:lnTo>
                      <a:pt x="4255" y="3549"/>
                    </a:lnTo>
                    <a:lnTo>
                      <a:pt x="4305" y="3441"/>
                    </a:lnTo>
                    <a:lnTo>
                      <a:pt x="4351" y="3337"/>
                    </a:lnTo>
                    <a:lnTo>
                      <a:pt x="4351" y="3335"/>
                    </a:lnTo>
                    <a:lnTo>
                      <a:pt x="4353" y="3333"/>
                    </a:lnTo>
                    <a:lnTo>
                      <a:pt x="4353" y="3331"/>
                    </a:lnTo>
                    <a:lnTo>
                      <a:pt x="4411" y="3196"/>
                    </a:lnTo>
                    <a:lnTo>
                      <a:pt x="4459" y="3056"/>
                    </a:lnTo>
                    <a:lnTo>
                      <a:pt x="4496" y="2915"/>
                    </a:lnTo>
                    <a:lnTo>
                      <a:pt x="4496" y="2911"/>
                    </a:lnTo>
                    <a:lnTo>
                      <a:pt x="4502" y="2885"/>
                    </a:lnTo>
                    <a:lnTo>
                      <a:pt x="4505" y="2867"/>
                    </a:lnTo>
                    <a:lnTo>
                      <a:pt x="4507" y="2857"/>
                    </a:lnTo>
                    <a:lnTo>
                      <a:pt x="4507" y="2852"/>
                    </a:lnTo>
                    <a:lnTo>
                      <a:pt x="4509" y="2848"/>
                    </a:lnTo>
                    <a:lnTo>
                      <a:pt x="4530" y="2718"/>
                    </a:lnTo>
                    <a:lnTo>
                      <a:pt x="4543" y="2582"/>
                    </a:lnTo>
                    <a:lnTo>
                      <a:pt x="4546" y="2449"/>
                    </a:lnTo>
                    <a:lnTo>
                      <a:pt x="4541" y="2291"/>
                    </a:lnTo>
                    <a:lnTo>
                      <a:pt x="4524" y="2138"/>
                    </a:lnTo>
                    <a:lnTo>
                      <a:pt x="4496" y="1988"/>
                    </a:lnTo>
                    <a:lnTo>
                      <a:pt x="4457" y="1841"/>
                    </a:lnTo>
                    <a:lnTo>
                      <a:pt x="4409" y="1700"/>
                    </a:lnTo>
                    <a:lnTo>
                      <a:pt x="4351" y="1562"/>
                    </a:lnTo>
                    <a:lnTo>
                      <a:pt x="4285" y="1430"/>
                    </a:lnTo>
                    <a:lnTo>
                      <a:pt x="4209" y="1304"/>
                    </a:lnTo>
                    <a:lnTo>
                      <a:pt x="4123" y="1183"/>
                    </a:lnTo>
                    <a:lnTo>
                      <a:pt x="4030" y="1070"/>
                    </a:lnTo>
                    <a:lnTo>
                      <a:pt x="3930" y="962"/>
                    </a:lnTo>
                    <a:lnTo>
                      <a:pt x="3823" y="862"/>
                    </a:lnTo>
                    <a:lnTo>
                      <a:pt x="3709" y="769"/>
                    </a:lnTo>
                    <a:lnTo>
                      <a:pt x="3589" y="685"/>
                    </a:lnTo>
                    <a:lnTo>
                      <a:pt x="3463" y="609"/>
                    </a:lnTo>
                    <a:lnTo>
                      <a:pt x="3331" y="540"/>
                    </a:lnTo>
                    <a:lnTo>
                      <a:pt x="3194" y="483"/>
                    </a:lnTo>
                    <a:lnTo>
                      <a:pt x="3053" y="434"/>
                    </a:lnTo>
                    <a:lnTo>
                      <a:pt x="2906" y="395"/>
                    </a:lnTo>
                    <a:lnTo>
                      <a:pt x="2756" y="367"/>
                    </a:lnTo>
                    <a:lnTo>
                      <a:pt x="2604" y="351"/>
                    </a:lnTo>
                    <a:lnTo>
                      <a:pt x="2446" y="345"/>
                    </a:lnTo>
                    <a:close/>
                    <a:moveTo>
                      <a:pt x="2446" y="0"/>
                    </a:moveTo>
                    <a:lnTo>
                      <a:pt x="2613" y="5"/>
                    </a:lnTo>
                    <a:lnTo>
                      <a:pt x="2778" y="24"/>
                    </a:lnTo>
                    <a:lnTo>
                      <a:pt x="2939" y="50"/>
                    </a:lnTo>
                    <a:lnTo>
                      <a:pt x="3095" y="89"/>
                    </a:lnTo>
                    <a:lnTo>
                      <a:pt x="3249" y="135"/>
                    </a:lnTo>
                    <a:lnTo>
                      <a:pt x="3398" y="193"/>
                    </a:lnTo>
                    <a:lnTo>
                      <a:pt x="3541" y="260"/>
                    </a:lnTo>
                    <a:lnTo>
                      <a:pt x="3680" y="336"/>
                    </a:lnTo>
                    <a:lnTo>
                      <a:pt x="3813" y="420"/>
                    </a:lnTo>
                    <a:lnTo>
                      <a:pt x="3940" y="511"/>
                    </a:lnTo>
                    <a:lnTo>
                      <a:pt x="4060" y="611"/>
                    </a:lnTo>
                    <a:lnTo>
                      <a:pt x="4175" y="719"/>
                    </a:lnTo>
                    <a:lnTo>
                      <a:pt x="4283" y="832"/>
                    </a:lnTo>
                    <a:lnTo>
                      <a:pt x="4383" y="955"/>
                    </a:lnTo>
                    <a:lnTo>
                      <a:pt x="4474" y="1081"/>
                    </a:lnTo>
                    <a:lnTo>
                      <a:pt x="4557" y="1215"/>
                    </a:lnTo>
                    <a:lnTo>
                      <a:pt x="4634" y="1352"/>
                    </a:lnTo>
                    <a:lnTo>
                      <a:pt x="4700" y="1497"/>
                    </a:lnTo>
                    <a:lnTo>
                      <a:pt x="4758" y="1646"/>
                    </a:lnTo>
                    <a:lnTo>
                      <a:pt x="4806" y="1798"/>
                    </a:lnTo>
                    <a:lnTo>
                      <a:pt x="4843" y="1956"/>
                    </a:lnTo>
                    <a:lnTo>
                      <a:pt x="4871" y="2118"/>
                    </a:lnTo>
                    <a:lnTo>
                      <a:pt x="4888" y="2281"/>
                    </a:lnTo>
                    <a:lnTo>
                      <a:pt x="4895" y="2449"/>
                    </a:lnTo>
                    <a:lnTo>
                      <a:pt x="4890" y="2603"/>
                    </a:lnTo>
                    <a:lnTo>
                      <a:pt x="4875" y="2757"/>
                    </a:lnTo>
                    <a:lnTo>
                      <a:pt x="4851" y="2909"/>
                    </a:lnTo>
                    <a:lnTo>
                      <a:pt x="4849" y="2919"/>
                    </a:lnTo>
                    <a:lnTo>
                      <a:pt x="4847" y="2936"/>
                    </a:lnTo>
                    <a:lnTo>
                      <a:pt x="4841" y="2960"/>
                    </a:lnTo>
                    <a:lnTo>
                      <a:pt x="4834" y="2991"/>
                    </a:lnTo>
                    <a:lnTo>
                      <a:pt x="4802" y="3116"/>
                    </a:lnTo>
                    <a:lnTo>
                      <a:pt x="4765" y="3237"/>
                    </a:lnTo>
                    <a:lnTo>
                      <a:pt x="4721" y="3357"/>
                    </a:lnTo>
                    <a:lnTo>
                      <a:pt x="4671" y="3474"/>
                    </a:lnTo>
                    <a:lnTo>
                      <a:pt x="4624" y="3580"/>
                    </a:lnTo>
                    <a:lnTo>
                      <a:pt x="4570" y="3694"/>
                    </a:lnTo>
                    <a:lnTo>
                      <a:pt x="4511" y="3811"/>
                    </a:lnTo>
                    <a:lnTo>
                      <a:pt x="4444" y="3935"/>
                    </a:lnTo>
                    <a:lnTo>
                      <a:pt x="4370" y="4063"/>
                    </a:lnTo>
                    <a:lnTo>
                      <a:pt x="4288" y="4197"/>
                    </a:lnTo>
                    <a:lnTo>
                      <a:pt x="4197" y="4335"/>
                    </a:lnTo>
                    <a:lnTo>
                      <a:pt x="4099" y="4476"/>
                    </a:lnTo>
                    <a:lnTo>
                      <a:pt x="3991" y="4623"/>
                    </a:lnTo>
                    <a:lnTo>
                      <a:pt x="3875" y="4771"/>
                    </a:lnTo>
                    <a:lnTo>
                      <a:pt x="3747" y="4926"/>
                    </a:lnTo>
                    <a:lnTo>
                      <a:pt x="3611" y="5082"/>
                    </a:lnTo>
                    <a:lnTo>
                      <a:pt x="3463" y="5242"/>
                    </a:lnTo>
                    <a:lnTo>
                      <a:pt x="3305" y="5403"/>
                    </a:lnTo>
                    <a:lnTo>
                      <a:pt x="3136" y="5567"/>
                    </a:lnTo>
                    <a:lnTo>
                      <a:pt x="2954" y="5734"/>
                    </a:lnTo>
                    <a:lnTo>
                      <a:pt x="2761" y="5901"/>
                    </a:lnTo>
                    <a:lnTo>
                      <a:pt x="2557" y="6072"/>
                    </a:lnTo>
                    <a:lnTo>
                      <a:pt x="2522" y="6093"/>
                    </a:lnTo>
                    <a:lnTo>
                      <a:pt x="2487" y="6106"/>
                    </a:lnTo>
                    <a:lnTo>
                      <a:pt x="2448" y="6109"/>
                    </a:lnTo>
                    <a:lnTo>
                      <a:pt x="2409" y="6106"/>
                    </a:lnTo>
                    <a:lnTo>
                      <a:pt x="2373" y="6093"/>
                    </a:lnTo>
                    <a:lnTo>
                      <a:pt x="2338" y="6072"/>
                    </a:lnTo>
                    <a:lnTo>
                      <a:pt x="2134" y="5901"/>
                    </a:lnTo>
                    <a:lnTo>
                      <a:pt x="1941" y="5734"/>
                    </a:lnTo>
                    <a:lnTo>
                      <a:pt x="1759" y="5567"/>
                    </a:lnTo>
                    <a:lnTo>
                      <a:pt x="1590" y="5403"/>
                    </a:lnTo>
                    <a:lnTo>
                      <a:pt x="1431" y="5242"/>
                    </a:lnTo>
                    <a:lnTo>
                      <a:pt x="1284" y="5082"/>
                    </a:lnTo>
                    <a:lnTo>
                      <a:pt x="1147" y="4926"/>
                    </a:lnTo>
                    <a:lnTo>
                      <a:pt x="1021" y="4771"/>
                    </a:lnTo>
                    <a:lnTo>
                      <a:pt x="904" y="4623"/>
                    </a:lnTo>
                    <a:lnTo>
                      <a:pt x="796" y="4476"/>
                    </a:lnTo>
                    <a:lnTo>
                      <a:pt x="698" y="4335"/>
                    </a:lnTo>
                    <a:lnTo>
                      <a:pt x="607" y="4197"/>
                    </a:lnTo>
                    <a:lnTo>
                      <a:pt x="525" y="4063"/>
                    </a:lnTo>
                    <a:lnTo>
                      <a:pt x="451" y="3935"/>
                    </a:lnTo>
                    <a:lnTo>
                      <a:pt x="384" y="3811"/>
                    </a:lnTo>
                    <a:lnTo>
                      <a:pt x="325" y="3694"/>
                    </a:lnTo>
                    <a:lnTo>
                      <a:pt x="271" y="3580"/>
                    </a:lnTo>
                    <a:lnTo>
                      <a:pt x="225" y="3474"/>
                    </a:lnTo>
                    <a:lnTo>
                      <a:pt x="175" y="3357"/>
                    </a:lnTo>
                    <a:lnTo>
                      <a:pt x="130" y="3237"/>
                    </a:lnTo>
                    <a:lnTo>
                      <a:pt x="93" y="3114"/>
                    </a:lnTo>
                    <a:lnTo>
                      <a:pt x="61" y="2991"/>
                    </a:lnTo>
                    <a:lnTo>
                      <a:pt x="54" y="2960"/>
                    </a:lnTo>
                    <a:lnTo>
                      <a:pt x="50" y="2936"/>
                    </a:lnTo>
                    <a:lnTo>
                      <a:pt x="47" y="2919"/>
                    </a:lnTo>
                    <a:lnTo>
                      <a:pt x="45" y="2909"/>
                    </a:lnTo>
                    <a:lnTo>
                      <a:pt x="21" y="2757"/>
                    </a:lnTo>
                    <a:lnTo>
                      <a:pt x="6" y="2603"/>
                    </a:lnTo>
                    <a:lnTo>
                      <a:pt x="0" y="2449"/>
                    </a:lnTo>
                    <a:lnTo>
                      <a:pt x="6" y="2281"/>
                    </a:lnTo>
                    <a:lnTo>
                      <a:pt x="22" y="2118"/>
                    </a:lnTo>
                    <a:lnTo>
                      <a:pt x="50" y="1956"/>
                    </a:lnTo>
                    <a:lnTo>
                      <a:pt x="89" y="1798"/>
                    </a:lnTo>
                    <a:lnTo>
                      <a:pt x="136" y="1646"/>
                    </a:lnTo>
                    <a:lnTo>
                      <a:pt x="193" y="1497"/>
                    </a:lnTo>
                    <a:lnTo>
                      <a:pt x="260" y="1352"/>
                    </a:lnTo>
                    <a:lnTo>
                      <a:pt x="336" y="1215"/>
                    </a:lnTo>
                    <a:lnTo>
                      <a:pt x="420" y="1081"/>
                    </a:lnTo>
                    <a:lnTo>
                      <a:pt x="510" y="955"/>
                    </a:lnTo>
                    <a:lnTo>
                      <a:pt x="611" y="832"/>
                    </a:lnTo>
                    <a:lnTo>
                      <a:pt x="718" y="719"/>
                    </a:lnTo>
                    <a:lnTo>
                      <a:pt x="831" y="611"/>
                    </a:lnTo>
                    <a:lnTo>
                      <a:pt x="954" y="511"/>
                    </a:lnTo>
                    <a:lnTo>
                      <a:pt x="1080" y="420"/>
                    </a:lnTo>
                    <a:lnTo>
                      <a:pt x="1214" y="336"/>
                    </a:lnTo>
                    <a:lnTo>
                      <a:pt x="1351" y="260"/>
                    </a:lnTo>
                    <a:lnTo>
                      <a:pt x="1496" y="193"/>
                    </a:lnTo>
                    <a:lnTo>
                      <a:pt x="1644" y="135"/>
                    </a:lnTo>
                    <a:lnTo>
                      <a:pt x="1796" y="89"/>
                    </a:lnTo>
                    <a:lnTo>
                      <a:pt x="1954" y="50"/>
                    </a:lnTo>
                    <a:lnTo>
                      <a:pt x="2116" y="24"/>
                    </a:lnTo>
                    <a:lnTo>
                      <a:pt x="2279" y="5"/>
                    </a:lnTo>
                    <a:lnTo>
                      <a:pt x="24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0">
                <a:extLst>
                  <a:ext uri="{FF2B5EF4-FFF2-40B4-BE49-F238E27FC236}">
                    <a16:creationId xmlns:a16="http://schemas.microsoft.com/office/drawing/2014/main" id="{B5EA0C17-EFF6-4C9F-89D0-DE17C5C89CE8}"/>
                  </a:ext>
                </a:extLst>
              </p:cNvPr>
              <p:cNvSpPr>
                <a:spLocks noEditPoints="1"/>
              </p:cNvSpPr>
              <p:nvPr/>
            </p:nvSpPr>
            <p:spPr bwMode="auto">
              <a:xfrm>
                <a:off x="1587" y="-3697288"/>
                <a:ext cx="2463801" cy="2468563"/>
              </a:xfrm>
              <a:custGeom>
                <a:avLst/>
                <a:gdLst>
                  <a:gd name="T0" fmla="*/ 1323 w 3104"/>
                  <a:gd name="T1" fmla="*/ 368 h 3111"/>
                  <a:gd name="T2" fmla="*/ 1007 w 3104"/>
                  <a:gd name="T3" fmla="*/ 476 h 3111"/>
                  <a:gd name="T4" fmla="*/ 738 w 3104"/>
                  <a:gd name="T5" fmla="*/ 664 h 3111"/>
                  <a:gd name="T6" fmla="*/ 528 w 3104"/>
                  <a:gd name="T7" fmla="*/ 914 h 3111"/>
                  <a:gd name="T8" fmla="*/ 393 w 3104"/>
                  <a:gd name="T9" fmla="*/ 1217 h 3111"/>
                  <a:gd name="T10" fmla="*/ 345 w 3104"/>
                  <a:gd name="T11" fmla="*/ 1556 h 3111"/>
                  <a:gd name="T12" fmla="*/ 393 w 3104"/>
                  <a:gd name="T13" fmla="*/ 1894 h 3111"/>
                  <a:gd name="T14" fmla="*/ 528 w 3104"/>
                  <a:gd name="T15" fmla="*/ 2197 h 3111"/>
                  <a:gd name="T16" fmla="*/ 738 w 3104"/>
                  <a:gd name="T17" fmla="*/ 2447 h 3111"/>
                  <a:gd name="T18" fmla="*/ 1007 w 3104"/>
                  <a:gd name="T19" fmla="*/ 2633 h 3111"/>
                  <a:gd name="T20" fmla="*/ 1323 w 3104"/>
                  <a:gd name="T21" fmla="*/ 2743 h 3111"/>
                  <a:gd name="T22" fmla="*/ 1668 w 3104"/>
                  <a:gd name="T23" fmla="*/ 2760 h 3111"/>
                  <a:gd name="T24" fmla="*/ 1996 w 3104"/>
                  <a:gd name="T25" fmla="*/ 2680 h 3111"/>
                  <a:gd name="T26" fmla="*/ 2282 w 3104"/>
                  <a:gd name="T27" fmla="*/ 2518 h 3111"/>
                  <a:gd name="T28" fmla="*/ 2512 w 3104"/>
                  <a:gd name="T29" fmla="*/ 2286 h 3111"/>
                  <a:gd name="T30" fmla="*/ 2675 w 3104"/>
                  <a:gd name="T31" fmla="*/ 2000 h 3111"/>
                  <a:gd name="T32" fmla="*/ 2753 w 3104"/>
                  <a:gd name="T33" fmla="*/ 1671 h 3111"/>
                  <a:gd name="T34" fmla="*/ 2737 w 3104"/>
                  <a:gd name="T35" fmla="*/ 1325 h 3111"/>
                  <a:gd name="T36" fmla="*/ 2629 w 3104"/>
                  <a:gd name="T37" fmla="*/ 1011 h 3111"/>
                  <a:gd name="T38" fmla="*/ 2441 w 3104"/>
                  <a:gd name="T39" fmla="*/ 740 h 3111"/>
                  <a:gd name="T40" fmla="*/ 2191 w 3104"/>
                  <a:gd name="T41" fmla="*/ 530 h 3111"/>
                  <a:gd name="T42" fmla="*/ 1890 w 3104"/>
                  <a:gd name="T43" fmla="*/ 394 h 3111"/>
                  <a:gd name="T44" fmla="*/ 1551 w 3104"/>
                  <a:gd name="T45" fmla="*/ 346 h 3111"/>
                  <a:gd name="T46" fmla="*/ 1816 w 3104"/>
                  <a:gd name="T47" fmla="*/ 23 h 3111"/>
                  <a:gd name="T48" fmla="*/ 2184 w 3104"/>
                  <a:gd name="T49" fmla="*/ 136 h 3111"/>
                  <a:gd name="T50" fmla="*/ 2508 w 3104"/>
                  <a:gd name="T51" fmla="*/ 331 h 3111"/>
                  <a:gd name="T52" fmla="*/ 2774 w 3104"/>
                  <a:gd name="T53" fmla="*/ 597 h 3111"/>
                  <a:gd name="T54" fmla="*/ 2968 w 3104"/>
                  <a:gd name="T55" fmla="*/ 922 h 3111"/>
                  <a:gd name="T56" fmla="*/ 3082 w 3104"/>
                  <a:gd name="T57" fmla="*/ 1290 h 3111"/>
                  <a:gd name="T58" fmla="*/ 3098 w 3104"/>
                  <a:gd name="T59" fmla="*/ 1689 h 3111"/>
                  <a:gd name="T60" fmla="*/ 3017 w 3104"/>
                  <a:gd name="T61" fmla="*/ 2070 h 3111"/>
                  <a:gd name="T62" fmla="*/ 2848 w 3104"/>
                  <a:gd name="T63" fmla="*/ 2410 h 3111"/>
                  <a:gd name="T64" fmla="*/ 2603 w 3104"/>
                  <a:gd name="T65" fmla="*/ 2698 h 3111"/>
                  <a:gd name="T66" fmla="*/ 2299 w 3104"/>
                  <a:gd name="T67" fmla="*/ 2918 h 3111"/>
                  <a:gd name="T68" fmla="*/ 1942 w 3104"/>
                  <a:gd name="T69" fmla="*/ 3061 h 3111"/>
                  <a:gd name="T70" fmla="*/ 1551 w 3104"/>
                  <a:gd name="T71" fmla="*/ 3111 h 3111"/>
                  <a:gd name="T72" fmla="*/ 1159 w 3104"/>
                  <a:gd name="T73" fmla="*/ 3061 h 3111"/>
                  <a:gd name="T74" fmla="*/ 805 w 3104"/>
                  <a:gd name="T75" fmla="*/ 2918 h 3111"/>
                  <a:gd name="T76" fmla="*/ 499 w 3104"/>
                  <a:gd name="T77" fmla="*/ 2698 h 3111"/>
                  <a:gd name="T78" fmla="*/ 256 w 3104"/>
                  <a:gd name="T79" fmla="*/ 2410 h 3111"/>
                  <a:gd name="T80" fmla="*/ 87 w 3104"/>
                  <a:gd name="T81" fmla="*/ 2070 h 3111"/>
                  <a:gd name="T82" fmla="*/ 5 w 3104"/>
                  <a:gd name="T83" fmla="*/ 1689 h 3111"/>
                  <a:gd name="T84" fmla="*/ 22 w 3104"/>
                  <a:gd name="T85" fmla="*/ 1290 h 3111"/>
                  <a:gd name="T86" fmla="*/ 133 w 3104"/>
                  <a:gd name="T87" fmla="*/ 922 h 3111"/>
                  <a:gd name="T88" fmla="*/ 330 w 3104"/>
                  <a:gd name="T89" fmla="*/ 597 h 3111"/>
                  <a:gd name="T90" fmla="*/ 595 w 3104"/>
                  <a:gd name="T91" fmla="*/ 331 h 3111"/>
                  <a:gd name="T92" fmla="*/ 918 w 3104"/>
                  <a:gd name="T93" fmla="*/ 136 h 3111"/>
                  <a:gd name="T94" fmla="*/ 1287 w 3104"/>
                  <a:gd name="T95" fmla="*/ 23 h 3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04" h="3111">
                    <a:moveTo>
                      <a:pt x="1551" y="346"/>
                    </a:moveTo>
                    <a:lnTo>
                      <a:pt x="1436" y="351"/>
                    </a:lnTo>
                    <a:lnTo>
                      <a:pt x="1323" y="368"/>
                    </a:lnTo>
                    <a:lnTo>
                      <a:pt x="1213" y="394"/>
                    </a:lnTo>
                    <a:lnTo>
                      <a:pt x="1107" y="431"/>
                    </a:lnTo>
                    <a:lnTo>
                      <a:pt x="1007" y="476"/>
                    </a:lnTo>
                    <a:lnTo>
                      <a:pt x="911" y="530"/>
                    </a:lnTo>
                    <a:lnTo>
                      <a:pt x="822" y="593"/>
                    </a:lnTo>
                    <a:lnTo>
                      <a:pt x="738" y="664"/>
                    </a:lnTo>
                    <a:lnTo>
                      <a:pt x="660" y="740"/>
                    </a:lnTo>
                    <a:lnTo>
                      <a:pt x="591" y="825"/>
                    </a:lnTo>
                    <a:lnTo>
                      <a:pt x="528" y="914"/>
                    </a:lnTo>
                    <a:lnTo>
                      <a:pt x="475" y="1011"/>
                    </a:lnTo>
                    <a:lnTo>
                      <a:pt x="428" y="1111"/>
                    </a:lnTo>
                    <a:lnTo>
                      <a:pt x="393" y="1217"/>
                    </a:lnTo>
                    <a:lnTo>
                      <a:pt x="365" y="1325"/>
                    </a:lnTo>
                    <a:lnTo>
                      <a:pt x="350" y="1438"/>
                    </a:lnTo>
                    <a:lnTo>
                      <a:pt x="345" y="1556"/>
                    </a:lnTo>
                    <a:lnTo>
                      <a:pt x="350" y="1671"/>
                    </a:lnTo>
                    <a:lnTo>
                      <a:pt x="365" y="1784"/>
                    </a:lnTo>
                    <a:lnTo>
                      <a:pt x="393" y="1894"/>
                    </a:lnTo>
                    <a:lnTo>
                      <a:pt x="428" y="2000"/>
                    </a:lnTo>
                    <a:lnTo>
                      <a:pt x="475" y="2100"/>
                    </a:lnTo>
                    <a:lnTo>
                      <a:pt x="528" y="2197"/>
                    </a:lnTo>
                    <a:lnTo>
                      <a:pt x="590" y="2286"/>
                    </a:lnTo>
                    <a:lnTo>
                      <a:pt x="660" y="2369"/>
                    </a:lnTo>
                    <a:lnTo>
                      <a:pt x="738" y="2447"/>
                    </a:lnTo>
                    <a:lnTo>
                      <a:pt x="822" y="2518"/>
                    </a:lnTo>
                    <a:lnTo>
                      <a:pt x="911" y="2579"/>
                    </a:lnTo>
                    <a:lnTo>
                      <a:pt x="1007" y="2633"/>
                    </a:lnTo>
                    <a:lnTo>
                      <a:pt x="1107" y="2680"/>
                    </a:lnTo>
                    <a:lnTo>
                      <a:pt x="1213" y="2715"/>
                    </a:lnTo>
                    <a:lnTo>
                      <a:pt x="1323" y="2743"/>
                    </a:lnTo>
                    <a:lnTo>
                      <a:pt x="1436" y="2760"/>
                    </a:lnTo>
                    <a:lnTo>
                      <a:pt x="1551" y="2765"/>
                    </a:lnTo>
                    <a:lnTo>
                      <a:pt x="1668" y="2760"/>
                    </a:lnTo>
                    <a:lnTo>
                      <a:pt x="1781" y="2743"/>
                    </a:lnTo>
                    <a:lnTo>
                      <a:pt x="1890" y="2715"/>
                    </a:lnTo>
                    <a:lnTo>
                      <a:pt x="1996" y="2680"/>
                    </a:lnTo>
                    <a:lnTo>
                      <a:pt x="2096" y="2633"/>
                    </a:lnTo>
                    <a:lnTo>
                      <a:pt x="2193" y="2579"/>
                    </a:lnTo>
                    <a:lnTo>
                      <a:pt x="2282" y="2518"/>
                    </a:lnTo>
                    <a:lnTo>
                      <a:pt x="2365" y="2447"/>
                    </a:lnTo>
                    <a:lnTo>
                      <a:pt x="2443" y="2369"/>
                    </a:lnTo>
                    <a:lnTo>
                      <a:pt x="2512" y="2286"/>
                    </a:lnTo>
                    <a:lnTo>
                      <a:pt x="2575" y="2197"/>
                    </a:lnTo>
                    <a:lnTo>
                      <a:pt x="2629" y="2100"/>
                    </a:lnTo>
                    <a:lnTo>
                      <a:pt x="2675" y="2000"/>
                    </a:lnTo>
                    <a:lnTo>
                      <a:pt x="2711" y="1894"/>
                    </a:lnTo>
                    <a:lnTo>
                      <a:pt x="2737" y="1784"/>
                    </a:lnTo>
                    <a:lnTo>
                      <a:pt x="2753" y="1671"/>
                    </a:lnTo>
                    <a:lnTo>
                      <a:pt x="2759" y="1556"/>
                    </a:lnTo>
                    <a:lnTo>
                      <a:pt x="2753" y="1438"/>
                    </a:lnTo>
                    <a:lnTo>
                      <a:pt x="2737" y="1325"/>
                    </a:lnTo>
                    <a:lnTo>
                      <a:pt x="2711" y="1217"/>
                    </a:lnTo>
                    <a:lnTo>
                      <a:pt x="2673" y="1111"/>
                    </a:lnTo>
                    <a:lnTo>
                      <a:pt x="2629" y="1011"/>
                    </a:lnTo>
                    <a:lnTo>
                      <a:pt x="2575" y="914"/>
                    </a:lnTo>
                    <a:lnTo>
                      <a:pt x="2512" y="825"/>
                    </a:lnTo>
                    <a:lnTo>
                      <a:pt x="2441" y="740"/>
                    </a:lnTo>
                    <a:lnTo>
                      <a:pt x="2365" y="664"/>
                    </a:lnTo>
                    <a:lnTo>
                      <a:pt x="2282" y="593"/>
                    </a:lnTo>
                    <a:lnTo>
                      <a:pt x="2191" y="530"/>
                    </a:lnTo>
                    <a:lnTo>
                      <a:pt x="2096" y="476"/>
                    </a:lnTo>
                    <a:lnTo>
                      <a:pt x="1994" y="431"/>
                    </a:lnTo>
                    <a:lnTo>
                      <a:pt x="1890" y="394"/>
                    </a:lnTo>
                    <a:lnTo>
                      <a:pt x="1781" y="368"/>
                    </a:lnTo>
                    <a:lnTo>
                      <a:pt x="1668" y="351"/>
                    </a:lnTo>
                    <a:lnTo>
                      <a:pt x="1551" y="346"/>
                    </a:lnTo>
                    <a:close/>
                    <a:moveTo>
                      <a:pt x="1551" y="0"/>
                    </a:moveTo>
                    <a:lnTo>
                      <a:pt x="1684" y="6"/>
                    </a:lnTo>
                    <a:lnTo>
                      <a:pt x="1816" y="23"/>
                    </a:lnTo>
                    <a:lnTo>
                      <a:pt x="1942" y="50"/>
                    </a:lnTo>
                    <a:lnTo>
                      <a:pt x="2067" y="88"/>
                    </a:lnTo>
                    <a:lnTo>
                      <a:pt x="2184" y="136"/>
                    </a:lnTo>
                    <a:lnTo>
                      <a:pt x="2299" y="192"/>
                    </a:lnTo>
                    <a:lnTo>
                      <a:pt x="2406" y="259"/>
                    </a:lnTo>
                    <a:lnTo>
                      <a:pt x="2508" y="331"/>
                    </a:lnTo>
                    <a:lnTo>
                      <a:pt x="2603" y="413"/>
                    </a:lnTo>
                    <a:lnTo>
                      <a:pt x="2692" y="502"/>
                    </a:lnTo>
                    <a:lnTo>
                      <a:pt x="2774" y="597"/>
                    </a:lnTo>
                    <a:lnTo>
                      <a:pt x="2848" y="699"/>
                    </a:lnTo>
                    <a:lnTo>
                      <a:pt x="2913" y="809"/>
                    </a:lnTo>
                    <a:lnTo>
                      <a:pt x="2968" y="922"/>
                    </a:lnTo>
                    <a:lnTo>
                      <a:pt x="3017" y="1041"/>
                    </a:lnTo>
                    <a:lnTo>
                      <a:pt x="3054" y="1163"/>
                    </a:lnTo>
                    <a:lnTo>
                      <a:pt x="3082" y="1290"/>
                    </a:lnTo>
                    <a:lnTo>
                      <a:pt x="3098" y="1422"/>
                    </a:lnTo>
                    <a:lnTo>
                      <a:pt x="3104" y="1556"/>
                    </a:lnTo>
                    <a:lnTo>
                      <a:pt x="3098" y="1689"/>
                    </a:lnTo>
                    <a:lnTo>
                      <a:pt x="3082" y="1819"/>
                    </a:lnTo>
                    <a:lnTo>
                      <a:pt x="3054" y="1948"/>
                    </a:lnTo>
                    <a:lnTo>
                      <a:pt x="3017" y="2070"/>
                    </a:lnTo>
                    <a:lnTo>
                      <a:pt x="2968" y="2189"/>
                    </a:lnTo>
                    <a:lnTo>
                      <a:pt x="2913" y="2303"/>
                    </a:lnTo>
                    <a:lnTo>
                      <a:pt x="2848" y="2410"/>
                    </a:lnTo>
                    <a:lnTo>
                      <a:pt x="2774" y="2512"/>
                    </a:lnTo>
                    <a:lnTo>
                      <a:pt x="2692" y="2609"/>
                    </a:lnTo>
                    <a:lnTo>
                      <a:pt x="2603" y="2698"/>
                    </a:lnTo>
                    <a:lnTo>
                      <a:pt x="2508" y="2780"/>
                    </a:lnTo>
                    <a:lnTo>
                      <a:pt x="2406" y="2853"/>
                    </a:lnTo>
                    <a:lnTo>
                      <a:pt x="2299" y="2918"/>
                    </a:lnTo>
                    <a:lnTo>
                      <a:pt x="2184" y="2975"/>
                    </a:lnTo>
                    <a:lnTo>
                      <a:pt x="2067" y="3022"/>
                    </a:lnTo>
                    <a:lnTo>
                      <a:pt x="1942" y="3061"/>
                    </a:lnTo>
                    <a:lnTo>
                      <a:pt x="1816" y="3089"/>
                    </a:lnTo>
                    <a:lnTo>
                      <a:pt x="1684" y="3105"/>
                    </a:lnTo>
                    <a:lnTo>
                      <a:pt x="1551" y="3111"/>
                    </a:lnTo>
                    <a:lnTo>
                      <a:pt x="1417" y="3105"/>
                    </a:lnTo>
                    <a:lnTo>
                      <a:pt x="1287" y="3089"/>
                    </a:lnTo>
                    <a:lnTo>
                      <a:pt x="1159" y="3061"/>
                    </a:lnTo>
                    <a:lnTo>
                      <a:pt x="1037" y="3022"/>
                    </a:lnTo>
                    <a:lnTo>
                      <a:pt x="918" y="2975"/>
                    </a:lnTo>
                    <a:lnTo>
                      <a:pt x="805" y="2918"/>
                    </a:lnTo>
                    <a:lnTo>
                      <a:pt x="697" y="2853"/>
                    </a:lnTo>
                    <a:lnTo>
                      <a:pt x="595" y="2780"/>
                    </a:lnTo>
                    <a:lnTo>
                      <a:pt x="499" y="2698"/>
                    </a:lnTo>
                    <a:lnTo>
                      <a:pt x="411" y="2609"/>
                    </a:lnTo>
                    <a:lnTo>
                      <a:pt x="330" y="2512"/>
                    </a:lnTo>
                    <a:lnTo>
                      <a:pt x="256" y="2410"/>
                    </a:lnTo>
                    <a:lnTo>
                      <a:pt x="191" y="2303"/>
                    </a:lnTo>
                    <a:lnTo>
                      <a:pt x="133" y="2189"/>
                    </a:lnTo>
                    <a:lnTo>
                      <a:pt x="87" y="2070"/>
                    </a:lnTo>
                    <a:lnTo>
                      <a:pt x="48" y="1948"/>
                    </a:lnTo>
                    <a:lnTo>
                      <a:pt x="22" y="1819"/>
                    </a:lnTo>
                    <a:lnTo>
                      <a:pt x="5" y="1689"/>
                    </a:lnTo>
                    <a:lnTo>
                      <a:pt x="0" y="1556"/>
                    </a:lnTo>
                    <a:lnTo>
                      <a:pt x="5" y="1422"/>
                    </a:lnTo>
                    <a:lnTo>
                      <a:pt x="22" y="1290"/>
                    </a:lnTo>
                    <a:lnTo>
                      <a:pt x="48" y="1163"/>
                    </a:lnTo>
                    <a:lnTo>
                      <a:pt x="87" y="1041"/>
                    </a:lnTo>
                    <a:lnTo>
                      <a:pt x="133" y="922"/>
                    </a:lnTo>
                    <a:lnTo>
                      <a:pt x="191" y="809"/>
                    </a:lnTo>
                    <a:lnTo>
                      <a:pt x="256" y="699"/>
                    </a:lnTo>
                    <a:lnTo>
                      <a:pt x="330" y="597"/>
                    </a:lnTo>
                    <a:lnTo>
                      <a:pt x="411" y="502"/>
                    </a:lnTo>
                    <a:lnTo>
                      <a:pt x="499" y="413"/>
                    </a:lnTo>
                    <a:lnTo>
                      <a:pt x="595" y="331"/>
                    </a:lnTo>
                    <a:lnTo>
                      <a:pt x="697" y="259"/>
                    </a:lnTo>
                    <a:lnTo>
                      <a:pt x="805" y="192"/>
                    </a:lnTo>
                    <a:lnTo>
                      <a:pt x="918" y="136"/>
                    </a:lnTo>
                    <a:lnTo>
                      <a:pt x="1037" y="88"/>
                    </a:lnTo>
                    <a:lnTo>
                      <a:pt x="1159" y="50"/>
                    </a:lnTo>
                    <a:lnTo>
                      <a:pt x="1287" y="23"/>
                    </a:lnTo>
                    <a:lnTo>
                      <a:pt x="1417" y="6"/>
                    </a:lnTo>
                    <a:lnTo>
                      <a:pt x="15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8" name="Oval 17">
              <a:extLst>
                <a:ext uri="{FF2B5EF4-FFF2-40B4-BE49-F238E27FC236}">
                  <a16:creationId xmlns:a16="http://schemas.microsoft.com/office/drawing/2014/main" id="{79F7B529-3F80-42F3-9438-77FB33E16019}"/>
                </a:ext>
              </a:extLst>
            </p:cNvPr>
            <p:cNvSpPr/>
            <p:nvPr/>
          </p:nvSpPr>
          <p:spPr>
            <a:xfrm>
              <a:off x="8359579" y="4650724"/>
              <a:ext cx="792000" cy="792000"/>
            </a:xfrm>
            <a:prstGeom prst="ellipse">
              <a:avLst/>
            </a:prstGeom>
            <a:noFill/>
            <a:ln w="19050" cap="flat" cmpd="sng" algn="ctr">
              <a:solidFill>
                <a:schemeClr val="bg1">
                  <a:lumMod val="10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904412FC-A68F-45C1-94BA-7151E3FDE0F3}"/>
              </a:ext>
            </a:extLst>
          </p:cNvPr>
          <p:cNvGrpSpPr>
            <a:grpSpLocks noChangeAspect="1"/>
          </p:cNvGrpSpPr>
          <p:nvPr userDrawn="1"/>
        </p:nvGrpSpPr>
        <p:grpSpPr>
          <a:xfrm>
            <a:off x="4644355" y="1145748"/>
            <a:ext cx="2903290" cy="695154"/>
            <a:chOff x="4124325" y="5508625"/>
            <a:chExt cx="2479675" cy="593725"/>
          </a:xfrm>
        </p:grpSpPr>
        <p:grpSp>
          <p:nvGrpSpPr>
            <p:cNvPr id="22" name="Group 21">
              <a:extLst>
                <a:ext uri="{FF2B5EF4-FFF2-40B4-BE49-F238E27FC236}">
                  <a16:creationId xmlns:a16="http://schemas.microsoft.com/office/drawing/2014/main" id="{5EBF1BA6-F057-4F12-83F4-51AFBE7026DA}"/>
                </a:ext>
              </a:extLst>
            </p:cNvPr>
            <p:cNvGrpSpPr/>
            <p:nvPr/>
          </p:nvGrpSpPr>
          <p:grpSpPr>
            <a:xfrm>
              <a:off x="4124325" y="5508625"/>
              <a:ext cx="460375" cy="593725"/>
              <a:chOff x="4124325" y="5508625"/>
              <a:chExt cx="460375" cy="593725"/>
            </a:xfrm>
          </p:grpSpPr>
          <p:sp>
            <p:nvSpPr>
              <p:cNvPr id="24" name="Freeform 35">
                <a:extLst>
                  <a:ext uri="{FF2B5EF4-FFF2-40B4-BE49-F238E27FC236}">
                    <a16:creationId xmlns:a16="http://schemas.microsoft.com/office/drawing/2014/main" id="{3E0C7083-EDF8-42DB-8244-F49AA9DE7E9E}"/>
                  </a:ext>
                </a:extLst>
              </p:cNvPr>
              <p:cNvSpPr>
                <a:spLocks/>
              </p:cNvSpPr>
              <p:nvPr/>
            </p:nvSpPr>
            <p:spPr bwMode="auto">
              <a:xfrm>
                <a:off x="4124325" y="5899150"/>
                <a:ext cx="457200" cy="203200"/>
              </a:xfrm>
              <a:custGeom>
                <a:avLst/>
                <a:gdLst>
                  <a:gd name="T0" fmla="*/ 143 w 288"/>
                  <a:gd name="T1" fmla="*/ 67 h 128"/>
                  <a:gd name="T2" fmla="*/ 228 w 288"/>
                  <a:gd name="T3" fmla="*/ 23 h 128"/>
                  <a:gd name="T4" fmla="*/ 283 w 288"/>
                  <a:gd name="T5" fmla="*/ 0 h 128"/>
                  <a:gd name="T6" fmla="*/ 288 w 288"/>
                  <a:gd name="T7" fmla="*/ 3 h 128"/>
                  <a:gd name="T8" fmla="*/ 283 w 288"/>
                  <a:gd name="T9" fmla="*/ 63 h 128"/>
                  <a:gd name="T10" fmla="*/ 156 w 288"/>
                  <a:gd name="T11" fmla="*/ 128 h 128"/>
                  <a:gd name="T12" fmla="*/ 131 w 288"/>
                  <a:gd name="T13" fmla="*/ 128 h 128"/>
                  <a:gd name="T14" fmla="*/ 4 w 288"/>
                  <a:gd name="T15" fmla="*/ 63 h 128"/>
                  <a:gd name="T16" fmla="*/ 0 w 288"/>
                  <a:gd name="T17" fmla="*/ 3 h 128"/>
                  <a:gd name="T18" fmla="*/ 4 w 288"/>
                  <a:gd name="T19" fmla="*/ 0 h 128"/>
                  <a:gd name="T20" fmla="*/ 59 w 288"/>
                  <a:gd name="T21" fmla="*/ 23 h 128"/>
                  <a:gd name="T22" fmla="*/ 143 w 288"/>
                  <a:gd name="T23" fmla="*/ 6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7"/>
                    </a:moveTo>
                    <a:lnTo>
                      <a:pt x="228" y="23"/>
                    </a:lnTo>
                    <a:lnTo>
                      <a:pt x="283" y="0"/>
                    </a:lnTo>
                    <a:lnTo>
                      <a:pt x="288" y="3"/>
                    </a:lnTo>
                    <a:lnTo>
                      <a:pt x="283" y="63"/>
                    </a:lnTo>
                    <a:lnTo>
                      <a:pt x="156" y="128"/>
                    </a:lnTo>
                    <a:lnTo>
                      <a:pt x="131" y="128"/>
                    </a:lnTo>
                    <a:lnTo>
                      <a:pt x="4" y="63"/>
                    </a:lnTo>
                    <a:lnTo>
                      <a:pt x="0" y="3"/>
                    </a:lnTo>
                    <a:lnTo>
                      <a:pt x="4" y="0"/>
                    </a:lnTo>
                    <a:lnTo>
                      <a:pt x="59" y="23"/>
                    </a:lnTo>
                    <a:lnTo>
                      <a:pt x="143" y="67"/>
                    </a:lnTo>
                    <a:close/>
                  </a:path>
                </a:pathLst>
              </a:custGeom>
              <a:solidFill>
                <a:srgbClr val="F15F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6">
                <a:extLst>
                  <a:ext uri="{FF2B5EF4-FFF2-40B4-BE49-F238E27FC236}">
                    <a16:creationId xmlns:a16="http://schemas.microsoft.com/office/drawing/2014/main" id="{6D1748A7-A0CB-422A-9A6C-F91CA0E47F97}"/>
                  </a:ext>
                </a:extLst>
              </p:cNvPr>
              <p:cNvSpPr>
                <a:spLocks/>
              </p:cNvSpPr>
              <p:nvPr/>
            </p:nvSpPr>
            <p:spPr bwMode="auto">
              <a:xfrm>
                <a:off x="4124325" y="5605463"/>
                <a:ext cx="457200" cy="403225"/>
              </a:xfrm>
              <a:custGeom>
                <a:avLst/>
                <a:gdLst>
                  <a:gd name="T0" fmla="*/ 288 w 288"/>
                  <a:gd name="T1" fmla="*/ 188 h 254"/>
                  <a:gd name="T2" fmla="*/ 283 w 288"/>
                  <a:gd name="T3" fmla="*/ 248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8"/>
                    </a:lnTo>
                    <a:lnTo>
                      <a:pt x="270" y="254"/>
                    </a:lnTo>
                    <a:lnTo>
                      <a:pt x="0" y="17"/>
                    </a:lnTo>
                    <a:lnTo>
                      <a:pt x="0" y="11"/>
                    </a:lnTo>
                    <a:lnTo>
                      <a:pt x="72" y="0"/>
                    </a:lnTo>
                    <a:lnTo>
                      <a:pt x="288" y="188"/>
                    </a:lnTo>
                    <a:close/>
                  </a:path>
                </a:pathLst>
              </a:custGeom>
              <a:solidFill>
                <a:srgbClr val="BF2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7">
                <a:extLst>
                  <a:ext uri="{FF2B5EF4-FFF2-40B4-BE49-F238E27FC236}">
                    <a16:creationId xmlns:a16="http://schemas.microsoft.com/office/drawing/2014/main" id="{644AA921-555F-433C-88BB-B2EC96F0D92E}"/>
                  </a:ext>
                </a:extLst>
              </p:cNvPr>
              <p:cNvSpPr>
                <a:spLocks/>
              </p:cNvSpPr>
              <p:nvPr/>
            </p:nvSpPr>
            <p:spPr bwMode="auto">
              <a:xfrm>
                <a:off x="4124325" y="5784850"/>
                <a:ext cx="209550" cy="223837"/>
              </a:xfrm>
              <a:custGeom>
                <a:avLst/>
                <a:gdLst>
                  <a:gd name="T0" fmla="*/ 17 w 132"/>
                  <a:gd name="T1" fmla="*/ 141 h 141"/>
                  <a:gd name="T2" fmla="*/ 4 w 132"/>
                  <a:gd name="T3" fmla="*/ 135 h 141"/>
                  <a:gd name="T4" fmla="*/ 0 w 132"/>
                  <a:gd name="T5" fmla="*/ 75 h 141"/>
                  <a:gd name="T6" fmla="*/ 86 w 132"/>
                  <a:gd name="T7" fmla="*/ 0 h 141"/>
                  <a:gd name="T8" fmla="*/ 132 w 132"/>
                  <a:gd name="T9" fmla="*/ 40 h 141"/>
                  <a:gd name="T10" fmla="*/ 17 w 132"/>
                  <a:gd name="T11" fmla="*/ 141 h 141"/>
                </a:gdLst>
                <a:ahLst/>
                <a:cxnLst>
                  <a:cxn ang="0">
                    <a:pos x="T0" y="T1"/>
                  </a:cxn>
                  <a:cxn ang="0">
                    <a:pos x="T2" y="T3"/>
                  </a:cxn>
                  <a:cxn ang="0">
                    <a:pos x="T4" y="T5"/>
                  </a:cxn>
                  <a:cxn ang="0">
                    <a:pos x="T6" y="T7"/>
                  </a:cxn>
                  <a:cxn ang="0">
                    <a:pos x="T8" y="T9"/>
                  </a:cxn>
                  <a:cxn ang="0">
                    <a:pos x="T10" y="T11"/>
                  </a:cxn>
                </a:cxnLst>
                <a:rect l="0" t="0" r="r" b="b"/>
                <a:pathLst>
                  <a:path w="132" h="141">
                    <a:moveTo>
                      <a:pt x="17" y="141"/>
                    </a:moveTo>
                    <a:lnTo>
                      <a:pt x="4" y="135"/>
                    </a:lnTo>
                    <a:lnTo>
                      <a:pt x="0" y="75"/>
                    </a:lnTo>
                    <a:lnTo>
                      <a:pt x="86" y="0"/>
                    </a:lnTo>
                    <a:lnTo>
                      <a:pt x="132" y="40"/>
                    </a:lnTo>
                    <a:lnTo>
                      <a:pt x="17" y="141"/>
                    </a:lnTo>
                    <a:close/>
                  </a:path>
                </a:pathLst>
              </a:custGeom>
              <a:solidFill>
                <a:srgbClr val="8F19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8">
                <a:extLst>
                  <a:ext uri="{FF2B5EF4-FFF2-40B4-BE49-F238E27FC236}">
                    <a16:creationId xmlns:a16="http://schemas.microsoft.com/office/drawing/2014/main" id="{55ECEE92-3C72-4BC8-A4AD-3777A8E6FCA0}"/>
                  </a:ext>
                </a:extLst>
              </p:cNvPr>
              <p:cNvSpPr>
                <a:spLocks/>
              </p:cNvSpPr>
              <p:nvPr/>
            </p:nvSpPr>
            <p:spPr bwMode="auto">
              <a:xfrm>
                <a:off x="4124325" y="5508625"/>
                <a:ext cx="381000" cy="130175"/>
              </a:xfrm>
              <a:custGeom>
                <a:avLst/>
                <a:gdLst>
                  <a:gd name="T0" fmla="*/ 143 w 240"/>
                  <a:gd name="T1" fmla="*/ 60 h 82"/>
                  <a:gd name="T2" fmla="*/ 3 w 240"/>
                  <a:gd name="T3" fmla="*/ 82 h 82"/>
                  <a:gd name="T4" fmla="*/ 0 w 240"/>
                  <a:gd name="T5" fmla="*/ 78 h 82"/>
                  <a:gd name="T6" fmla="*/ 4 w 240"/>
                  <a:gd name="T7" fmla="*/ 20 h 82"/>
                  <a:gd name="T8" fmla="*/ 139 w 240"/>
                  <a:gd name="T9" fmla="*/ 0 h 82"/>
                  <a:gd name="T10" fmla="*/ 147 w 240"/>
                  <a:gd name="T11" fmla="*/ 0 h 82"/>
                  <a:gd name="T12" fmla="*/ 240 w 240"/>
                  <a:gd name="T13" fmla="*/ 14 h 82"/>
                  <a:gd name="T14" fmla="*/ 240 w 240"/>
                  <a:gd name="T15" fmla="*/ 75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8"/>
                    </a:lnTo>
                    <a:lnTo>
                      <a:pt x="4" y="20"/>
                    </a:lnTo>
                    <a:lnTo>
                      <a:pt x="139" y="0"/>
                    </a:lnTo>
                    <a:lnTo>
                      <a:pt x="147" y="0"/>
                    </a:lnTo>
                    <a:lnTo>
                      <a:pt x="240" y="14"/>
                    </a:lnTo>
                    <a:lnTo>
                      <a:pt x="240" y="75"/>
                    </a:lnTo>
                    <a:lnTo>
                      <a:pt x="143" y="60"/>
                    </a:lnTo>
                    <a:close/>
                  </a:path>
                </a:pathLst>
              </a:custGeom>
              <a:solidFill>
                <a:srgbClr val="F47F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9">
                <a:extLst>
                  <a:ext uri="{FF2B5EF4-FFF2-40B4-BE49-F238E27FC236}">
                    <a16:creationId xmlns:a16="http://schemas.microsoft.com/office/drawing/2014/main" id="{A91FAC9B-FD86-4A20-B0F6-201271CCD6D4}"/>
                  </a:ext>
                </a:extLst>
              </p:cNvPr>
              <p:cNvSpPr>
                <a:spLocks/>
              </p:cNvSpPr>
              <p:nvPr/>
            </p:nvSpPr>
            <p:spPr bwMode="auto">
              <a:xfrm>
                <a:off x="4489450" y="5527675"/>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5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5"/>
                    </a:lnTo>
                    <a:lnTo>
                      <a:pt x="0" y="131"/>
                    </a:lnTo>
                    <a:close/>
                  </a:path>
                </a:pathLst>
              </a:custGeom>
              <a:solidFill>
                <a:srgbClr val="F8A6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0">
                <a:extLst>
                  <a:ext uri="{FF2B5EF4-FFF2-40B4-BE49-F238E27FC236}">
                    <a16:creationId xmlns:a16="http://schemas.microsoft.com/office/drawing/2014/main" id="{BEEA9C47-A15F-45ED-9010-A7089F5F708E}"/>
                  </a:ext>
                </a:extLst>
              </p:cNvPr>
              <p:cNvSpPr>
                <a:spLocks/>
              </p:cNvSpPr>
              <p:nvPr/>
            </p:nvSpPr>
            <p:spPr bwMode="auto">
              <a:xfrm>
                <a:off x="4465638" y="5522913"/>
                <a:ext cx="23812" cy="101600"/>
              </a:xfrm>
              <a:custGeom>
                <a:avLst/>
                <a:gdLst>
                  <a:gd name="T0" fmla="*/ 0 w 15"/>
                  <a:gd name="T1" fmla="*/ 62 h 64"/>
                  <a:gd name="T2" fmla="*/ 15 w 15"/>
                  <a:gd name="T3" fmla="*/ 64 h 64"/>
                  <a:gd name="T4" fmla="*/ 15 w 15"/>
                  <a:gd name="T5" fmla="*/ 3 h 64"/>
                  <a:gd name="T6" fmla="*/ 0 w 15"/>
                  <a:gd name="T7" fmla="*/ 0 h 64"/>
                  <a:gd name="T8" fmla="*/ 0 w 15"/>
                  <a:gd name="T9" fmla="*/ 62 h 64"/>
                </a:gdLst>
                <a:ahLst/>
                <a:cxnLst>
                  <a:cxn ang="0">
                    <a:pos x="T0" y="T1"/>
                  </a:cxn>
                  <a:cxn ang="0">
                    <a:pos x="T2" y="T3"/>
                  </a:cxn>
                  <a:cxn ang="0">
                    <a:pos x="T4" y="T5"/>
                  </a:cxn>
                  <a:cxn ang="0">
                    <a:pos x="T6" y="T7"/>
                  </a:cxn>
                  <a:cxn ang="0">
                    <a:pos x="T8" y="T9"/>
                  </a:cxn>
                </a:cxnLst>
                <a:rect l="0" t="0" r="r" b="b"/>
                <a:pathLst>
                  <a:path w="15" h="64">
                    <a:moveTo>
                      <a:pt x="0" y="62"/>
                    </a:moveTo>
                    <a:lnTo>
                      <a:pt x="15" y="64"/>
                    </a:lnTo>
                    <a:lnTo>
                      <a:pt x="15" y="3"/>
                    </a:lnTo>
                    <a:lnTo>
                      <a:pt x="0" y="0"/>
                    </a:lnTo>
                    <a:lnTo>
                      <a:pt x="0" y="62"/>
                    </a:lnTo>
                    <a:close/>
                  </a:path>
                </a:pathLst>
              </a:custGeom>
              <a:solidFill>
                <a:srgbClr val="F15F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1">
                <a:extLst>
                  <a:ext uri="{FF2B5EF4-FFF2-40B4-BE49-F238E27FC236}">
                    <a16:creationId xmlns:a16="http://schemas.microsoft.com/office/drawing/2014/main" id="{0DD36C93-13D4-4826-A6FC-C8C6393773E8}"/>
                  </a:ext>
                </a:extLst>
              </p:cNvPr>
              <p:cNvSpPr>
                <a:spLocks/>
              </p:cNvSpPr>
              <p:nvPr/>
            </p:nvSpPr>
            <p:spPr bwMode="auto">
              <a:xfrm>
                <a:off x="4129088" y="5619750"/>
                <a:ext cx="147637" cy="38100"/>
              </a:xfrm>
              <a:custGeom>
                <a:avLst/>
                <a:gdLst>
                  <a:gd name="T0" fmla="*/ 15 w 93"/>
                  <a:gd name="T1" fmla="*/ 24 h 24"/>
                  <a:gd name="T2" fmla="*/ 93 w 93"/>
                  <a:gd name="T3" fmla="*/ 13 h 24"/>
                  <a:gd name="T4" fmla="*/ 78 w 93"/>
                  <a:gd name="T5" fmla="*/ 0 h 24"/>
                  <a:gd name="T6" fmla="*/ 0 w 93"/>
                  <a:gd name="T7" fmla="*/ 12 h 24"/>
                  <a:gd name="T8" fmla="*/ 15 w 93"/>
                  <a:gd name="T9" fmla="*/ 24 h 24"/>
                </a:gdLst>
                <a:ahLst/>
                <a:cxnLst>
                  <a:cxn ang="0">
                    <a:pos x="T0" y="T1"/>
                  </a:cxn>
                  <a:cxn ang="0">
                    <a:pos x="T2" y="T3"/>
                  </a:cxn>
                  <a:cxn ang="0">
                    <a:pos x="T4" y="T5"/>
                  </a:cxn>
                  <a:cxn ang="0">
                    <a:pos x="T6" y="T7"/>
                  </a:cxn>
                  <a:cxn ang="0">
                    <a:pos x="T8" y="T9"/>
                  </a:cxn>
                </a:cxnLst>
                <a:rect l="0" t="0" r="r" b="b"/>
                <a:pathLst>
                  <a:path w="93" h="24">
                    <a:moveTo>
                      <a:pt x="15" y="24"/>
                    </a:moveTo>
                    <a:lnTo>
                      <a:pt x="93" y="13"/>
                    </a:lnTo>
                    <a:lnTo>
                      <a:pt x="78" y="0"/>
                    </a:lnTo>
                    <a:lnTo>
                      <a:pt x="0" y="12"/>
                    </a:lnTo>
                    <a:lnTo>
                      <a:pt x="15" y="24"/>
                    </a:lnTo>
                    <a:close/>
                  </a:path>
                </a:pathLst>
              </a:custGeom>
              <a:solidFill>
                <a:srgbClr val="8F19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Freeform 42">
              <a:extLst>
                <a:ext uri="{FF2B5EF4-FFF2-40B4-BE49-F238E27FC236}">
                  <a16:creationId xmlns:a16="http://schemas.microsoft.com/office/drawing/2014/main" id="{084C2A17-8270-46A4-A3BB-44AB4EB63B79}"/>
                </a:ext>
              </a:extLst>
            </p:cNvPr>
            <p:cNvSpPr>
              <a:spLocks noEditPoints="1"/>
            </p:cNvSpPr>
            <p:nvPr/>
          </p:nvSpPr>
          <p:spPr bwMode="auto">
            <a:xfrm>
              <a:off x="4873625" y="5662613"/>
              <a:ext cx="1730375" cy="284162"/>
            </a:xfrm>
            <a:custGeom>
              <a:avLst/>
              <a:gdLst>
                <a:gd name="T0" fmla="*/ 1399 w 1571"/>
                <a:gd name="T1" fmla="*/ 170 h 257"/>
                <a:gd name="T2" fmla="*/ 1505 w 1571"/>
                <a:gd name="T3" fmla="*/ 170 h 257"/>
                <a:gd name="T4" fmla="*/ 1471 w 1571"/>
                <a:gd name="T5" fmla="*/ 4 h 257"/>
                <a:gd name="T6" fmla="*/ 1333 w 1571"/>
                <a:gd name="T7" fmla="*/ 253 h 257"/>
                <a:gd name="T8" fmla="*/ 1390 w 1571"/>
                <a:gd name="T9" fmla="*/ 198 h 257"/>
                <a:gd name="T10" fmla="*/ 1536 w 1571"/>
                <a:gd name="T11" fmla="*/ 253 h 257"/>
                <a:gd name="T12" fmla="*/ 1208 w 1571"/>
                <a:gd name="T13" fmla="*/ 253 h 257"/>
                <a:gd name="T14" fmla="*/ 1287 w 1571"/>
                <a:gd name="T15" fmla="*/ 32 h 257"/>
                <a:gd name="T16" fmla="*/ 1098 w 1571"/>
                <a:gd name="T17" fmla="*/ 4 h 257"/>
                <a:gd name="T18" fmla="*/ 1177 w 1571"/>
                <a:gd name="T19" fmla="*/ 32 h 257"/>
                <a:gd name="T20" fmla="*/ 1208 w 1571"/>
                <a:gd name="T21" fmla="*/ 253 h 257"/>
                <a:gd name="T22" fmla="*/ 867 w 1571"/>
                <a:gd name="T23" fmla="*/ 127 h 257"/>
                <a:gd name="T24" fmla="*/ 932 w 1571"/>
                <a:gd name="T25" fmla="*/ 32 h 257"/>
                <a:gd name="T26" fmla="*/ 932 w 1571"/>
                <a:gd name="T27" fmla="*/ 127 h 257"/>
                <a:gd name="T28" fmla="*/ 950 w 1571"/>
                <a:gd name="T29" fmla="*/ 151 h 257"/>
                <a:gd name="T30" fmla="*/ 936 w 1571"/>
                <a:gd name="T31" fmla="*/ 4 h 257"/>
                <a:gd name="T32" fmla="*/ 836 w 1571"/>
                <a:gd name="T33" fmla="*/ 253 h 257"/>
                <a:gd name="T34" fmla="*/ 867 w 1571"/>
                <a:gd name="T35" fmla="*/ 154 h 257"/>
                <a:gd name="T36" fmla="*/ 980 w 1571"/>
                <a:gd name="T37" fmla="*/ 253 h 257"/>
                <a:gd name="T38" fmla="*/ 681 w 1571"/>
                <a:gd name="T39" fmla="*/ 170 h 257"/>
                <a:gd name="T40" fmla="*/ 629 w 1571"/>
                <a:gd name="T41" fmla="*/ 36 h 257"/>
                <a:gd name="T42" fmla="*/ 748 w 1571"/>
                <a:gd name="T43" fmla="*/ 253 h 257"/>
                <a:gd name="T44" fmla="*/ 609 w 1571"/>
                <a:gd name="T45" fmla="*/ 4 h 257"/>
                <a:gd name="T46" fmla="*/ 545 w 1571"/>
                <a:gd name="T47" fmla="*/ 253 h 257"/>
                <a:gd name="T48" fmla="*/ 691 w 1571"/>
                <a:gd name="T49" fmla="*/ 198 h 257"/>
                <a:gd name="T50" fmla="*/ 748 w 1571"/>
                <a:gd name="T51" fmla="*/ 253 h 257"/>
                <a:gd name="T52" fmla="*/ 320 w 1571"/>
                <a:gd name="T53" fmla="*/ 126 h 257"/>
                <a:gd name="T54" fmla="*/ 385 w 1571"/>
                <a:gd name="T55" fmla="*/ 32 h 257"/>
                <a:gd name="T56" fmla="*/ 385 w 1571"/>
                <a:gd name="T57" fmla="*/ 126 h 257"/>
                <a:gd name="T58" fmla="*/ 320 w 1571"/>
                <a:gd name="T59" fmla="*/ 154 h 257"/>
                <a:gd name="T60" fmla="*/ 467 w 1571"/>
                <a:gd name="T61" fmla="*/ 79 h 257"/>
                <a:gd name="T62" fmla="*/ 289 w 1571"/>
                <a:gd name="T63" fmla="*/ 4 h 257"/>
                <a:gd name="T64" fmla="*/ 320 w 1571"/>
                <a:gd name="T65" fmla="*/ 253 h 257"/>
                <a:gd name="T66" fmla="*/ 187 w 1571"/>
                <a:gd name="T67" fmla="*/ 184 h 257"/>
                <a:gd name="T68" fmla="*/ 91 w 1571"/>
                <a:gd name="T69" fmla="*/ 28 h 257"/>
                <a:gd name="T70" fmla="*/ 181 w 1571"/>
                <a:gd name="T71" fmla="*/ 35 h 257"/>
                <a:gd name="T72" fmla="*/ 8 w 1571"/>
                <a:gd name="T73" fmla="*/ 69 h 257"/>
                <a:gd name="T74" fmla="*/ 97 w 1571"/>
                <a:gd name="T75" fmla="*/ 230 h 257"/>
                <a:gd name="T76" fmla="*/ 0 w 1571"/>
                <a:gd name="T77" fmla="*/ 21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1" h="257">
                  <a:moveTo>
                    <a:pt x="1505" y="170"/>
                  </a:moveTo>
                  <a:cubicBezTo>
                    <a:pt x="1399" y="170"/>
                    <a:pt x="1399" y="170"/>
                    <a:pt x="1399" y="170"/>
                  </a:cubicBezTo>
                  <a:cubicBezTo>
                    <a:pt x="1452" y="36"/>
                    <a:pt x="1452" y="36"/>
                    <a:pt x="1452" y="36"/>
                  </a:cubicBezTo>
                  <a:lnTo>
                    <a:pt x="1505" y="170"/>
                  </a:lnTo>
                  <a:close/>
                  <a:moveTo>
                    <a:pt x="1571" y="253"/>
                  </a:moveTo>
                  <a:cubicBezTo>
                    <a:pt x="1471" y="4"/>
                    <a:pt x="1471" y="4"/>
                    <a:pt x="1471" y="4"/>
                  </a:cubicBezTo>
                  <a:cubicBezTo>
                    <a:pt x="1433" y="4"/>
                    <a:pt x="1433" y="4"/>
                    <a:pt x="1433" y="4"/>
                  </a:cubicBezTo>
                  <a:cubicBezTo>
                    <a:pt x="1333" y="253"/>
                    <a:pt x="1333" y="253"/>
                    <a:pt x="1333" y="253"/>
                  </a:cubicBezTo>
                  <a:cubicBezTo>
                    <a:pt x="1368" y="253"/>
                    <a:pt x="1368" y="253"/>
                    <a:pt x="1368" y="253"/>
                  </a:cubicBezTo>
                  <a:cubicBezTo>
                    <a:pt x="1390" y="198"/>
                    <a:pt x="1390" y="198"/>
                    <a:pt x="1390" y="198"/>
                  </a:cubicBezTo>
                  <a:cubicBezTo>
                    <a:pt x="1514" y="198"/>
                    <a:pt x="1514" y="198"/>
                    <a:pt x="1514" y="198"/>
                  </a:cubicBezTo>
                  <a:cubicBezTo>
                    <a:pt x="1536" y="253"/>
                    <a:pt x="1536" y="253"/>
                    <a:pt x="1536" y="253"/>
                  </a:cubicBezTo>
                  <a:lnTo>
                    <a:pt x="1571" y="253"/>
                  </a:lnTo>
                  <a:close/>
                  <a:moveTo>
                    <a:pt x="1208" y="253"/>
                  </a:moveTo>
                  <a:cubicBezTo>
                    <a:pt x="1208" y="32"/>
                    <a:pt x="1208" y="32"/>
                    <a:pt x="1208" y="32"/>
                  </a:cubicBezTo>
                  <a:cubicBezTo>
                    <a:pt x="1287" y="32"/>
                    <a:pt x="1287" y="32"/>
                    <a:pt x="1287" y="32"/>
                  </a:cubicBezTo>
                  <a:cubicBezTo>
                    <a:pt x="1287" y="4"/>
                    <a:pt x="1287" y="4"/>
                    <a:pt x="1287" y="4"/>
                  </a:cubicBezTo>
                  <a:cubicBezTo>
                    <a:pt x="1098" y="4"/>
                    <a:pt x="1098" y="4"/>
                    <a:pt x="1098" y="4"/>
                  </a:cubicBezTo>
                  <a:cubicBezTo>
                    <a:pt x="1098" y="32"/>
                    <a:pt x="1098" y="32"/>
                    <a:pt x="1098" y="32"/>
                  </a:cubicBezTo>
                  <a:cubicBezTo>
                    <a:pt x="1177" y="32"/>
                    <a:pt x="1177" y="32"/>
                    <a:pt x="1177" y="32"/>
                  </a:cubicBezTo>
                  <a:cubicBezTo>
                    <a:pt x="1177" y="253"/>
                    <a:pt x="1177" y="253"/>
                    <a:pt x="1177" y="253"/>
                  </a:cubicBezTo>
                  <a:lnTo>
                    <a:pt x="1208" y="253"/>
                  </a:lnTo>
                  <a:close/>
                  <a:moveTo>
                    <a:pt x="932" y="127"/>
                  </a:moveTo>
                  <a:cubicBezTo>
                    <a:pt x="867" y="127"/>
                    <a:pt x="867" y="127"/>
                    <a:pt x="867" y="127"/>
                  </a:cubicBezTo>
                  <a:cubicBezTo>
                    <a:pt x="867" y="32"/>
                    <a:pt x="867" y="32"/>
                    <a:pt x="867" y="32"/>
                  </a:cubicBezTo>
                  <a:cubicBezTo>
                    <a:pt x="932" y="32"/>
                    <a:pt x="932" y="32"/>
                    <a:pt x="932" y="32"/>
                  </a:cubicBezTo>
                  <a:cubicBezTo>
                    <a:pt x="962" y="32"/>
                    <a:pt x="982" y="51"/>
                    <a:pt x="982" y="79"/>
                  </a:cubicBezTo>
                  <a:cubicBezTo>
                    <a:pt x="982" y="107"/>
                    <a:pt x="962" y="127"/>
                    <a:pt x="932" y="127"/>
                  </a:cubicBezTo>
                  <a:close/>
                  <a:moveTo>
                    <a:pt x="1017" y="253"/>
                  </a:moveTo>
                  <a:cubicBezTo>
                    <a:pt x="950" y="151"/>
                    <a:pt x="950" y="151"/>
                    <a:pt x="950" y="151"/>
                  </a:cubicBezTo>
                  <a:cubicBezTo>
                    <a:pt x="984" y="148"/>
                    <a:pt x="1014" y="124"/>
                    <a:pt x="1014" y="79"/>
                  </a:cubicBezTo>
                  <a:cubicBezTo>
                    <a:pt x="1014" y="33"/>
                    <a:pt x="982" y="4"/>
                    <a:pt x="936" y="4"/>
                  </a:cubicBezTo>
                  <a:cubicBezTo>
                    <a:pt x="836" y="4"/>
                    <a:pt x="836" y="4"/>
                    <a:pt x="836" y="4"/>
                  </a:cubicBezTo>
                  <a:cubicBezTo>
                    <a:pt x="836" y="253"/>
                    <a:pt x="836" y="253"/>
                    <a:pt x="836" y="253"/>
                  </a:cubicBezTo>
                  <a:cubicBezTo>
                    <a:pt x="867" y="253"/>
                    <a:pt x="867" y="253"/>
                    <a:pt x="867" y="253"/>
                  </a:cubicBezTo>
                  <a:cubicBezTo>
                    <a:pt x="867" y="154"/>
                    <a:pt x="867" y="154"/>
                    <a:pt x="867" y="154"/>
                  </a:cubicBezTo>
                  <a:cubicBezTo>
                    <a:pt x="917" y="154"/>
                    <a:pt x="917" y="154"/>
                    <a:pt x="917" y="154"/>
                  </a:cubicBezTo>
                  <a:cubicBezTo>
                    <a:pt x="980" y="253"/>
                    <a:pt x="980" y="253"/>
                    <a:pt x="980" y="253"/>
                  </a:cubicBezTo>
                  <a:lnTo>
                    <a:pt x="1017" y="253"/>
                  </a:lnTo>
                  <a:close/>
                  <a:moveTo>
                    <a:pt x="681" y="170"/>
                  </a:moveTo>
                  <a:cubicBezTo>
                    <a:pt x="576" y="170"/>
                    <a:pt x="576" y="170"/>
                    <a:pt x="576" y="170"/>
                  </a:cubicBezTo>
                  <a:cubicBezTo>
                    <a:pt x="629" y="36"/>
                    <a:pt x="629" y="36"/>
                    <a:pt x="629" y="36"/>
                  </a:cubicBezTo>
                  <a:lnTo>
                    <a:pt x="681" y="170"/>
                  </a:lnTo>
                  <a:close/>
                  <a:moveTo>
                    <a:pt x="748" y="253"/>
                  </a:moveTo>
                  <a:cubicBezTo>
                    <a:pt x="648" y="4"/>
                    <a:pt x="648" y="4"/>
                    <a:pt x="648" y="4"/>
                  </a:cubicBezTo>
                  <a:cubicBezTo>
                    <a:pt x="609" y="4"/>
                    <a:pt x="609" y="4"/>
                    <a:pt x="609" y="4"/>
                  </a:cubicBezTo>
                  <a:cubicBezTo>
                    <a:pt x="509" y="253"/>
                    <a:pt x="509" y="253"/>
                    <a:pt x="509" y="253"/>
                  </a:cubicBezTo>
                  <a:cubicBezTo>
                    <a:pt x="545" y="253"/>
                    <a:pt x="545" y="253"/>
                    <a:pt x="545" y="253"/>
                  </a:cubicBezTo>
                  <a:cubicBezTo>
                    <a:pt x="567" y="198"/>
                    <a:pt x="567" y="198"/>
                    <a:pt x="567" y="198"/>
                  </a:cubicBezTo>
                  <a:cubicBezTo>
                    <a:pt x="691" y="198"/>
                    <a:pt x="691" y="198"/>
                    <a:pt x="691" y="198"/>
                  </a:cubicBezTo>
                  <a:cubicBezTo>
                    <a:pt x="713" y="253"/>
                    <a:pt x="713" y="253"/>
                    <a:pt x="713" y="253"/>
                  </a:cubicBezTo>
                  <a:lnTo>
                    <a:pt x="748" y="253"/>
                  </a:lnTo>
                  <a:close/>
                  <a:moveTo>
                    <a:pt x="385" y="126"/>
                  </a:moveTo>
                  <a:cubicBezTo>
                    <a:pt x="320" y="126"/>
                    <a:pt x="320" y="126"/>
                    <a:pt x="320" y="126"/>
                  </a:cubicBezTo>
                  <a:cubicBezTo>
                    <a:pt x="320" y="32"/>
                    <a:pt x="320" y="32"/>
                    <a:pt x="320" y="32"/>
                  </a:cubicBezTo>
                  <a:cubicBezTo>
                    <a:pt x="385" y="32"/>
                    <a:pt x="385" y="32"/>
                    <a:pt x="385" y="32"/>
                  </a:cubicBezTo>
                  <a:cubicBezTo>
                    <a:pt x="415" y="32"/>
                    <a:pt x="435" y="51"/>
                    <a:pt x="435" y="79"/>
                  </a:cubicBezTo>
                  <a:cubicBezTo>
                    <a:pt x="435" y="107"/>
                    <a:pt x="415" y="126"/>
                    <a:pt x="385" y="126"/>
                  </a:cubicBezTo>
                  <a:close/>
                  <a:moveTo>
                    <a:pt x="320" y="253"/>
                  </a:moveTo>
                  <a:cubicBezTo>
                    <a:pt x="320" y="154"/>
                    <a:pt x="320" y="154"/>
                    <a:pt x="320" y="154"/>
                  </a:cubicBezTo>
                  <a:cubicBezTo>
                    <a:pt x="389" y="154"/>
                    <a:pt x="389" y="154"/>
                    <a:pt x="389" y="154"/>
                  </a:cubicBezTo>
                  <a:cubicBezTo>
                    <a:pt x="438" y="154"/>
                    <a:pt x="467" y="120"/>
                    <a:pt x="467" y="79"/>
                  </a:cubicBezTo>
                  <a:cubicBezTo>
                    <a:pt x="467" y="39"/>
                    <a:pt x="439" y="4"/>
                    <a:pt x="389" y="4"/>
                  </a:cubicBezTo>
                  <a:cubicBezTo>
                    <a:pt x="289" y="4"/>
                    <a:pt x="289" y="4"/>
                    <a:pt x="289" y="4"/>
                  </a:cubicBezTo>
                  <a:cubicBezTo>
                    <a:pt x="289" y="253"/>
                    <a:pt x="289" y="253"/>
                    <a:pt x="289" y="253"/>
                  </a:cubicBezTo>
                  <a:lnTo>
                    <a:pt x="320" y="253"/>
                  </a:lnTo>
                  <a:close/>
                  <a:moveTo>
                    <a:pt x="95" y="257"/>
                  </a:moveTo>
                  <a:cubicBezTo>
                    <a:pt x="162" y="257"/>
                    <a:pt x="187" y="220"/>
                    <a:pt x="187" y="184"/>
                  </a:cubicBezTo>
                  <a:cubicBezTo>
                    <a:pt x="187" y="91"/>
                    <a:pt x="40" y="123"/>
                    <a:pt x="40" y="68"/>
                  </a:cubicBezTo>
                  <a:cubicBezTo>
                    <a:pt x="40" y="44"/>
                    <a:pt x="61" y="28"/>
                    <a:pt x="91" y="28"/>
                  </a:cubicBezTo>
                  <a:cubicBezTo>
                    <a:pt x="118" y="28"/>
                    <a:pt x="144" y="37"/>
                    <a:pt x="163" y="58"/>
                  </a:cubicBezTo>
                  <a:cubicBezTo>
                    <a:pt x="181" y="35"/>
                    <a:pt x="181" y="35"/>
                    <a:pt x="181" y="35"/>
                  </a:cubicBezTo>
                  <a:cubicBezTo>
                    <a:pt x="161" y="13"/>
                    <a:pt x="131" y="0"/>
                    <a:pt x="93" y="0"/>
                  </a:cubicBezTo>
                  <a:cubicBezTo>
                    <a:pt x="44" y="0"/>
                    <a:pt x="8" y="28"/>
                    <a:pt x="8" y="69"/>
                  </a:cubicBezTo>
                  <a:cubicBezTo>
                    <a:pt x="8" y="158"/>
                    <a:pt x="155" y="123"/>
                    <a:pt x="155" y="187"/>
                  </a:cubicBezTo>
                  <a:cubicBezTo>
                    <a:pt x="155" y="206"/>
                    <a:pt x="141" y="230"/>
                    <a:pt x="97" y="230"/>
                  </a:cubicBezTo>
                  <a:cubicBezTo>
                    <a:pt x="61" y="230"/>
                    <a:pt x="35" y="213"/>
                    <a:pt x="18" y="194"/>
                  </a:cubicBezTo>
                  <a:cubicBezTo>
                    <a:pt x="0" y="218"/>
                    <a:pt x="0" y="218"/>
                    <a:pt x="0" y="218"/>
                  </a:cubicBezTo>
                  <a:cubicBezTo>
                    <a:pt x="20" y="241"/>
                    <a:pt x="52" y="257"/>
                    <a:pt x="95" y="2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 name="Title 1">
            <a:extLst>
              <a:ext uri="{FF2B5EF4-FFF2-40B4-BE49-F238E27FC236}">
                <a16:creationId xmlns:a16="http://schemas.microsoft.com/office/drawing/2014/main" id="{14B2C2E3-8875-4D28-9A31-F19A1E51895E}"/>
              </a:ext>
            </a:extLst>
          </p:cNvPr>
          <p:cNvSpPr>
            <a:spLocks noGrp="1"/>
          </p:cNvSpPr>
          <p:nvPr>
            <p:ph type="title"/>
          </p:nvPr>
        </p:nvSpPr>
        <p:spPr>
          <a:xfrm>
            <a:off x="3314268" y="2331712"/>
            <a:ext cx="5563466" cy="1232069"/>
          </a:xfrm>
        </p:spPr>
        <p:txBody>
          <a:bodyPr anchor="ctr">
            <a:spAutoFit/>
          </a:bodyPr>
          <a:lstStyle>
            <a:lvl1pPr algn="ctr">
              <a:defRPr sz="4400" b="0">
                <a:solidFill>
                  <a:schemeClr val="bg1"/>
                </a:solidFill>
                <a:latin typeface="+mn-lt"/>
              </a:defRPr>
            </a:lvl1pPr>
          </a:lstStyle>
          <a:p>
            <a:r>
              <a:rPr lang="en-US" dirty="0"/>
              <a:t>Click to edit Master title</a:t>
            </a:r>
          </a:p>
        </p:txBody>
      </p:sp>
      <p:pic>
        <p:nvPicPr>
          <p:cNvPr id="35" name="Picture 4" descr="https://europa.eu/european-union/sites/europaeu/files/docs/body/flag_white_low.jpg">
            <a:extLst>
              <a:ext uri="{FF2B5EF4-FFF2-40B4-BE49-F238E27FC236}">
                <a16:creationId xmlns:a16="http://schemas.microsoft.com/office/drawing/2014/main" id="{2D4DF246-B7BC-4305-AA54-D9E1AAD5AB7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454648" y="5944125"/>
            <a:ext cx="536499" cy="358925"/>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31">
            <a:extLst>
              <a:ext uri="{FF2B5EF4-FFF2-40B4-BE49-F238E27FC236}">
                <a16:creationId xmlns:a16="http://schemas.microsoft.com/office/drawing/2014/main" id="{187F5ABC-1369-4EB1-879E-CB593316A6FF}"/>
              </a:ext>
            </a:extLst>
          </p:cNvPr>
          <p:cNvSpPr>
            <a:spLocks noGrp="1"/>
          </p:cNvSpPr>
          <p:nvPr>
            <p:ph type="body" sz="quarter" idx="10"/>
          </p:nvPr>
        </p:nvSpPr>
        <p:spPr>
          <a:xfrm>
            <a:off x="2287067" y="5048975"/>
            <a:ext cx="2357288" cy="338554"/>
          </a:xfrm>
        </p:spPr>
        <p:txBody>
          <a:bodyPr>
            <a:normAutofit/>
          </a:bodyPr>
          <a:lstStyle>
            <a:lvl1pPr marL="0" indent="0" algn="ctr">
              <a:buNone/>
              <a:defRPr sz="1600">
                <a:solidFill>
                  <a:schemeClr val="bg1"/>
                </a:solidFill>
              </a:defRPr>
            </a:lvl1pPr>
            <a:lvl2pPr>
              <a:defRPr sz="1800"/>
            </a:lvl2pPr>
          </a:lstStyle>
          <a:p>
            <a:pPr lvl="0"/>
            <a:r>
              <a:rPr lang="en-US" dirty="0"/>
              <a:t>Edit Master text styles</a:t>
            </a:r>
          </a:p>
        </p:txBody>
      </p:sp>
      <p:sp>
        <p:nvSpPr>
          <p:cNvPr id="37" name="Text Placeholder 31">
            <a:extLst>
              <a:ext uri="{FF2B5EF4-FFF2-40B4-BE49-F238E27FC236}">
                <a16:creationId xmlns:a16="http://schemas.microsoft.com/office/drawing/2014/main" id="{0554CC09-4AEB-420F-A022-D4659C72B177}"/>
              </a:ext>
            </a:extLst>
          </p:cNvPr>
          <p:cNvSpPr>
            <a:spLocks noGrp="1"/>
          </p:cNvSpPr>
          <p:nvPr>
            <p:ph type="body" sz="quarter" idx="13"/>
          </p:nvPr>
        </p:nvSpPr>
        <p:spPr>
          <a:xfrm>
            <a:off x="4917357" y="5048975"/>
            <a:ext cx="2357288" cy="338554"/>
          </a:xfrm>
        </p:spPr>
        <p:txBody>
          <a:bodyPr>
            <a:normAutofit/>
          </a:bodyPr>
          <a:lstStyle>
            <a:lvl1pPr marL="0" indent="0" algn="ctr">
              <a:buNone/>
              <a:defRPr sz="1600">
                <a:solidFill>
                  <a:schemeClr val="bg1"/>
                </a:solidFill>
              </a:defRPr>
            </a:lvl1pPr>
            <a:lvl2pPr>
              <a:defRPr sz="1800"/>
            </a:lvl2pPr>
          </a:lstStyle>
          <a:p>
            <a:pPr lvl="0"/>
            <a:r>
              <a:rPr lang="en-US" dirty="0"/>
              <a:t>Edit Master text styles</a:t>
            </a:r>
          </a:p>
        </p:txBody>
      </p:sp>
      <p:sp>
        <p:nvSpPr>
          <p:cNvPr id="38" name="Text Placeholder 31">
            <a:extLst>
              <a:ext uri="{FF2B5EF4-FFF2-40B4-BE49-F238E27FC236}">
                <a16:creationId xmlns:a16="http://schemas.microsoft.com/office/drawing/2014/main" id="{0138A452-C400-4D7F-8C49-D8CDE848B92F}"/>
              </a:ext>
            </a:extLst>
          </p:cNvPr>
          <p:cNvSpPr>
            <a:spLocks noGrp="1"/>
          </p:cNvSpPr>
          <p:nvPr>
            <p:ph type="body" sz="quarter" idx="14"/>
          </p:nvPr>
        </p:nvSpPr>
        <p:spPr>
          <a:xfrm>
            <a:off x="7537345" y="5048975"/>
            <a:ext cx="2357288" cy="338554"/>
          </a:xfrm>
        </p:spPr>
        <p:txBody>
          <a:bodyPr>
            <a:normAutofit/>
          </a:bodyPr>
          <a:lstStyle>
            <a:lvl1pPr marL="0" indent="0" algn="ctr">
              <a:buNone/>
              <a:defRPr sz="1600">
                <a:solidFill>
                  <a:schemeClr val="bg1"/>
                </a:solidFill>
              </a:defRPr>
            </a:lvl1pPr>
            <a:lvl2pPr>
              <a:defRPr sz="1800"/>
            </a:lvl2pPr>
          </a:lstStyle>
          <a:p>
            <a:pPr lvl="0"/>
            <a:r>
              <a:rPr lang="en-US" dirty="0"/>
              <a:t>Edit Master text styles</a:t>
            </a:r>
          </a:p>
        </p:txBody>
      </p:sp>
      <p:sp>
        <p:nvSpPr>
          <p:cNvPr id="39" name="Text Placeholder 2">
            <a:extLst>
              <a:ext uri="{FF2B5EF4-FFF2-40B4-BE49-F238E27FC236}">
                <a16:creationId xmlns:a16="http://schemas.microsoft.com/office/drawing/2014/main" id="{69090983-1D0A-47A0-A594-0D8958D6AFE3}"/>
              </a:ext>
            </a:extLst>
          </p:cNvPr>
          <p:cNvSpPr txBox="1">
            <a:spLocks/>
          </p:cNvSpPr>
          <p:nvPr userDrawn="1"/>
        </p:nvSpPr>
        <p:spPr>
          <a:xfrm>
            <a:off x="2756243" y="5861207"/>
            <a:ext cx="5539656" cy="524762"/>
          </a:xfrm>
          <a:prstGeom prst="rect">
            <a:avLst/>
          </a:prstGeom>
        </p:spPr>
        <p:txBody>
          <a:bodyPr vert="horz" lIns="0" tIns="0" rIns="0" bIns="0" rtlCol="0" anchor="ctr">
            <a:normAutofit/>
          </a:bodyPr>
          <a:lstStyle>
            <a:lvl1pPr marL="0" indent="0" algn="r" defTabSz="914400" rtl="0" eaLnBrk="1" latinLnBrk="0" hangingPunct="1">
              <a:lnSpc>
                <a:spcPct val="100000"/>
              </a:lnSpc>
              <a:spcBef>
                <a:spcPts val="0"/>
              </a:spcBef>
              <a:spcAft>
                <a:spcPts val="600"/>
              </a:spcAft>
              <a:buClr>
                <a:schemeClr val="accent1"/>
              </a:buClr>
              <a:buFont typeface="Wingdings 3" panose="05040102010807070707" pitchFamily="18" charset="2"/>
              <a:buNone/>
              <a:defRPr lang="en-US" sz="1200" i="1" kern="1200">
                <a:solidFill>
                  <a:schemeClr val="bg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800" kern="120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BC2026"/>
              </a:buClr>
              <a:buSzTx/>
              <a:buFont typeface="Wingdings 3" panose="05040102010807070707" pitchFamily="18" charset="2"/>
              <a:buNone/>
              <a:tabLst/>
              <a:defRPr/>
            </a:pPr>
            <a:r>
              <a:rPr kumimoji="0" lang="en-US" sz="1200" b="0" i="1" u="none" strike="noStrike" kern="1200" cap="none" spc="0" normalizeH="0" baseline="0" noProof="0" dirty="0">
                <a:ln>
                  <a:noFill/>
                </a:ln>
                <a:solidFill>
                  <a:sysClr val="window" lastClr="FFFFFF"/>
                </a:solidFill>
                <a:effectLst/>
                <a:uLnTx/>
                <a:uFillTx/>
                <a:latin typeface="Arial"/>
              </a:rPr>
              <a:t>This project has received funding from the European Union's Horizon 2020 research and innovation </a:t>
            </a:r>
            <a:r>
              <a:rPr kumimoji="0" lang="en-US" sz="1200" b="0" i="1" u="none" strike="noStrike" kern="1200" cap="none" spc="0" normalizeH="0" baseline="0" noProof="0" dirty="0" err="1">
                <a:ln>
                  <a:noFill/>
                </a:ln>
                <a:solidFill>
                  <a:sysClr val="window" lastClr="FFFFFF"/>
                </a:solidFill>
                <a:effectLst/>
                <a:uLnTx/>
                <a:uFillTx/>
                <a:latin typeface="Arial"/>
              </a:rPr>
              <a:t>programme</a:t>
            </a:r>
            <a:r>
              <a:rPr kumimoji="0" lang="en-US" sz="1200" b="0" i="1" u="none" strike="noStrike" kern="1200" cap="none" spc="0" normalizeH="0" baseline="0" noProof="0" dirty="0">
                <a:ln>
                  <a:noFill/>
                </a:ln>
                <a:solidFill>
                  <a:sysClr val="window" lastClr="FFFFFF"/>
                </a:solidFill>
                <a:effectLst/>
                <a:uLnTx/>
                <a:uFillTx/>
                <a:latin typeface="Arial"/>
              </a:rPr>
              <a:t> under grant agreement No 830892</a:t>
            </a:r>
          </a:p>
        </p:txBody>
      </p:sp>
    </p:spTree>
    <p:extLst>
      <p:ext uri="{BB962C8B-B14F-4D97-AF65-F5344CB8AC3E}">
        <p14:creationId xmlns:p14="http://schemas.microsoft.com/office/powerpoint/2010/main" val="2704673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4115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3"/>
          </p:nvPr>
        </p:nvSpPr>
        <p:spPr>
          <a:xfrm>
            <a:off x="442912" y="1342800"/>
            <a:ext cx="10368000" cy="496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481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two conten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442912" y="1342800"/>
            <a:ext cx="50400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5770913" y="1342800"/>
            <a:ext cx="50400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6935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headers and two contents">
    <p:spTree>
      <p:nvGrpSpPr>
        <p:cNvPr id="1" name=""/>
        <p:cNvGrpSpPr/>
        <p:nvPr/>
      </p:nvGrpSpPr>
      <p:grpSpPr>
        <a:xfrm>
          <a:off x="0" y="0"/>
          <a:ext cx="0" cy="0"/>
          <a:chOff x="0" y="0"/>
          <a:chExt cx="0" cy="0"/>
        </a:xfrm>
      </p:grpSpPr>
      <p:sp>
        <p:nvSpPr>
          <p:cNvPr id="9" name="Textplatzhalter 8"/>
          <p:cNvSpPr>
            <a:spLocks noGrp="1"/>
          </p:cNvSpPr>
          <p:nvPr>
            <p:ph type="body" sz="quarter" idx="15"/>
          </p:nvPr>
        </p:nvSpPr>
        <p:spPr>
          <a:xfrm>
            <a:off x="431800" y="1342800"/>
            <a:ext cx="5040000" cy="432000"/>
          </a:xfrm>
        </p:spPr>
        <p:txBody>
          <a:bodyPr anchor="t">
            <a:noAutofit/>
          </a:bodyPr>
          <a:lstStyle>
            <a:lvl1pPr marL="0" indent="0">
              <a:spcAft>
                <a:spcPts val="0"/>
              </a:spcAft>
              <a:buNone/>
              <a:defRPr sz="2000" b="1">
                <a:solidFill>
                  <a:schemeClr val="accent1"/>
                </a:solidFill>
                <a:latin typeface="+mj-lt"/>
              </a:defRPr>
            </a:lvl1pPr>
          </a:lstStyle>
          <a:p>
            <a:pPr lvl="0"/>
            <a:r>
              <a:rPr lang="en-US"/>
              <a:t>Edit Master text styles</a:t>
            </a:r>
          </a:p>
        </p:txBody>
      </p:sp>
      <p:sp>
        <p:nvSpPr>
          <p:cNvPr id="10" name="Textplatzhalter 8"/>
          <p:cNvSpPr>
            <a:spLocks noGrp="1"/>
          </p:cNvSpPr>
          <p:nvPr>
            <p:ph type="body" sz="quarter" idx="16"/>
          </p:nvPr>
        </p:nvSpPr>
        <p:spPr>
          <a:xfrm>
            <a:off x="5770914" y="1342800"/>
            <a:ext cx="5040000" cy="432000"/>
          </a:xfrm>
        </p:spPr>
        <p:txBody>
          <a:bodyPr anchor="t">
            <a:noAutofit/>
          </a:bodyPr>
          <a:lstStyle>
            <a:lvl1pPr marL="0" indent="0">
              <a:spcAft>
                <a:spcPts val="0"/>
              </a:spcAft>
              <a:buNone/>
              <a:defRPr sz="2000" b="1">
                <a:solidFill>
                  <a:schemeClr val="accent2"/>
                </a:solidFill>
                <a:latin typeface="+mj-lt"/>
              </a:defRPr>
            </a:lvl1pPr>
          </a:lstStyle>
          <a:p>
            <a:pPr lvl="0"/>
            <a:r>
              <a:rPr lang="en-US"/>
              <a:t>Edit Master text styles</a:t>
            </a:r>
          </a:p>
        </p:txBody>
      </p:sp>
      <p:sp>
        <p:nvSpPr>
          <p:cNvPr id="4" name="Title 3"/>
          <p:cNvSpPr>
            <a:spLocks noGrp="1"/>
          </p:cNvSpPr>
          <p:nvPr>
            <p:ph type="title"/>
          </p:nvPr>
        </p:nvSpPr>
        <p:spPr/>
        <p:txBody>
          <a:bodyPr/>
          <a:lstStyle/>
          <a:p>
            <a:r>
              <a:rPr lang="en-US"/>
              <a:t>Click to edit Master title style</a:t>
            </a:r>
          </a:p>
        </p:txBody>
      </p:sp>
      <p:sp>
        <p:nvSpPr>
          <p:cNvPr id="11" name="Inhaltsplatzhalter 6"/>
          <p:cNvSpPr>
            <a:spLocks noGrp="1"/>
          </p:cNvSpPr>
          <p:nvPr>
            <p:ph sz="quarter" idx="13" hasCustomPrompt="1"/>
          </p:nvPr>
        </p:nvSpPr>
        <p:spPr>
          <a:xfrm>
            <a:off x="431799" y="1794142"/>
            <a:ext cx="5040000" cy="4527319"/>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Inhaltsplatzhalter 8"/>
          <p:cNvSpPr>
            <a:spLocks noGrp="1"/>
          </p:cNvSpPr>
          <p:nvPr>
            <p:ph sz="quarter" idx="14" hasCustomPrompt="1"/>
          </p:nvPr>
        </p:nvSpPr>
        <p:spPr>
          <a:xfrm>
            <a:off x="5770913" y="1794142"/>
            <a:ext cx="5040000"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49125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hree conten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442913" y="1341436"/>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7549313" y="1341436"/>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Inhaltsplatzhalter 6"/>
          <p:cNvSpPr>
            <a:spLocks noGrp="1"/>
          </p:cNvSpPr>
          <p:nvPr>
            <p:ph sz="quarter" idx="16" hasCustomPrompt="1"/>
          </p:nvPr>
        </p:nvSpPr>
        <p:spPr>
          <a:xfrm>
            <a:off x="3996113" y="1341436"/>
            <a:ext cx="3261600" cy="4968000"/>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583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headers and three conten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442913" y="1794141"/>
            <a:ext cx="3261600"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Inhaltsplatzhalter 8"/>
          <p:cNvSpPr>
            <a:spLocks noGrp="1"/>
          </p:cNvSpPr>
          <p:nvPr>
            <p:ph sz="quarter" idx="14" hasCustomPrompt="1"/>
          </p:nvPr>
        </p:nvSpPr>
        <p:spPr>
          <a:xfrm>
            <a:off x="7549313" y="1794141"/>
            <a:ext cx="3261600"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Inhaltsplatzhalter 6"/>
          <p:cNvSpPr>
            <a:spLocks noGrp="1"/>
          </p:cNvSpPr>
          <p:nvPr>
            <p:ph sz="quarter" idx="16" hasCustomPrompt="1"/>
          </p:nvPr>
        </p:nvSpPr>
        <p:spPr>
          <a:xfrm>
            <a:off x="3996113" y="1794141"/>
            <a:ext cx="3261600" cy="4514583"/>
          </a:xfrm>
        </p:spPr>
        <p:txBody>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7"/>
          </p:nvPr>
        </p:nvSpPr>
        <p:spPr>
          <a:xfrm>
            <a:off x="442914" y="1342800"/>
            <a:ext cx="3261600" cy="432000"/>
          </a:xfrm>
        </p:spPr>
        <p:txBody>
          <a:bodyPr anchor="t">
            <a:normAutofit/>
          </a:bodyPr>
          <a:lstStyle>
            <a:lvl1pPr marL="0" indent="0">
              <a:buNone/>
              <a:defRPr sz="2000" b="1">
                <a:solidFill>
                  <a:schemeClr val="accent1"/>
                </a:solidFill>
                <a:latin typeface="+mj-lt"/>
              </a:defRPr>
            </a:lvl1pPr>
          </a:lstStyle>
          <a:p>
            <a:pPr lvl="0"/>
            <a:r>
              <a:rPr lang="en-US"/>
              <a:t>Edit Master text styles</a:t>
            </a:r>
          </a:p>
        </p:txBody>
      </p:sp>
      <p:sp>
        <p:nvSpPr>
          <p:cNvPr id="13" name="Textplatzhalter 8"/>
          <p:cNvSpPr>
            <a:spLocks noGrp="1"/>
          </p:cNvSpPr>
          <p:nvPr>
            <p:ph type="body" sz="quarter" idx="20"/>
          </p:nvPr>
        </p:nvSpPr>
        <p:spPr>
          <a:xfrm>
            <a:off x="3996113" y="1342800"/>
            <a:ext cx="3261600" cy="432000"/>
          </a:xfrm>
        </p:spPr>
        <p:txBody>
          <a:bodyPr anchor="t">
            <a:normAutofit/>
          </a:bodyPr>
          <a:lstStyle>
            <a:lvl1pPr marL="0" indent="0">
              <a:buNone/>
              <a:defRPr sz="2000" b="1">
                <a:solidFill>
                  <a:schemeClr val="accent3"/>
                </a:solidFill>
                <a:latin typeface="+mj-lt"/>
              </a:defRPr>
            </a:lvl1pPr>
          </a:lstStyle>
          <a:p>
            <a:pPr lvl="0"/>
            <a:r>
              <a:rPr lang="en-US"/>
              <a:t>Edit Master text styles</a:t>
            </a:r>
          </a:p>
        </p:txBody>
      </p:sp>
      <p:sp>
        <p:nvSpPr>
          <p:cNvPr id="14" name="Textplatzhalter 8"/>
          <p:cNvSpPr>
            <a:spLocks noGrp="1"/>
          </p:cNvSpPr>
          <p:nvPr>
            <p:ph type="body" sz="quarter" idx="21"/>
          </p:nvPr>
        </p:nvSpPr>
        <p:spPr>
          <a:xfrm>
            <a:off x="7549312" y="1342800"/>
            <a:ext cx="3261600" cy="432000"/>
          </a:xfrm>
        </p:spPr>
        <p:txBody>
          <a:bodyPr anchor="t">
            <a:normAutofit/>
          </a:bodyPr>
          <a:lstStyle>
            <a:lvl1pPr marL="0" indent="0">
              <a:buNone/>
              <a:defRPr sz="2000" b="1">
                <a:solidFill>
                  <a:schemeClr val="accent2"/>
                </a:solidFill>
                <a:latin typeface="+mj-lt"/>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495532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42" Type="http://schemas.openxmlformats.org/officeDocument/2006/relationships/tags" Target="../tags/tag8.xml"/><Relationship Id="rId47" Type="http://schemas.openxmlformats.org/officeDocument/2006/relationships/image" Target="../media/image1.emf"/><Relationship Id="rId50" Type="http://schemas.openxmlformats.org/officeDocument/2006/relationships/oleObject" Target="../embeddings/oleObject4.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4.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40" Type="http://schemas.openxmlformats.org/officeDocument/2006/relationships/tags" Target="../tags/tag6.xml"/><Relationship Id="rId45" Type="http://schemas.openxmlformats.org/officeDocument/2006/relationships/tags" Target="../tags/tag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49" Type="http://schemas.openxmlformats.org/officeDocument/2006/relationships/oleObject" Target="../embeddings/oleObject3.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 Id="rId43" Type="http://schemas.openxmlformats.org/officeDocument/2006/relationships/tags" Target="../tags/tag9.xml"/><Relationship Id="rId48" Type="http://schemas.openxmlformats.org/officeDocument/2006/relationships/oleObject" Target="../embeddings/oleObject2.bin"/><Relationship Id="rId8" Type="http://schemas.openxmlformats.org/officeDocument/2006/relationships/slideLayout" Target="../slideLayouts/slideLayout8.xml"/><Relationship Id="rId51"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913" y="1341438"/>
            <a:ext cx="10368000" cy="49680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14" name="Object 13" hidden="1"/>
          <p:cNvGraphicFramePr>
            <a:graphicFrameLocks noChangeAspect="1"/>
          </p:cNvGraphicFramePr>
          <p:nvPr>
            <p:custDataLst>
              <p:tags r:id="rId36"/>
            </p:custDataLst>
            <p:extLst>
              <p:ext uri="{D42A27DB-BD31-4B8C-83A1-F6EECF244321}">
                <p14:modId xmlns:p14="http://schemas.microsoft.com/office/powerpoint/2010/main" val="428107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076" name="think-cell Slide" r:id="rId46" imgW="270" imgH="270" progId="TCLayout.ActiveDocument.1">
                  <p:embed/>
                </p:oleObj>
              </mc:Choice>
              <mc:Fallback>
                <p:oleObj name="think-cell Slide" r:id="rId46" imgW="270" imgH="270" progId="TCLayout.ActiveDocument.1">
                  <p:embed/>
                  <p:pic>
                    <p:nvPicPr>
                      <p:cNvPr id="14" name="Object 13" hidden="1"/>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sp>
        <p:nvSpPr>
          <p:cNvPr id="2" name="Title Placeholder 1"/>
          <p:cNvSpPr>
            <a:spLocks noGrp="1"/>
          </p:cNvSpPr>
          <p:nvPr>
            <p:ph type="title"/>
          </p:nvPr>
        </p:nvSpPr>
        <p:spPr>
          <a:xfrm>
            <a:off x="442914" y="317660"/>
            <a:ext cx="10367999" cy="792000"/>
          </a:xfrm>
          <a:prstGeom prst="rect">
            <a:avLst/>
          </a:prstGeom>
        </p:spPr>
        <p:txBody>
          <a:bodyPr vert="horz" wrap="square" lIns="0" tIns="0" rIns="0" bIns="0" rtlCol="0" anchor="t">
            <a:noAutofit/>
          </a:bodyPr>
          <a:lstStyle/>
          <a:p>
            <a:r>
              <a:rPr lang="en-US" dirty="0"/>
              <a:t>Click to edit </a:t>
            </a:r>
            <a:br>
              <a:rPr lang="en-US" dirty="0"/>
            </a:br>
            <a:r>
              <a:rPr lang="en-US" dirty="0"/>
              <a:t>Master title style</a:t>
            </a:r>
          </a:p>
        </p:txBody>
      </p:sp>
      <p:graphicFrame>
        <p:nvGraphicFramePr>
          <p:cNvPr id="6" name="Object 5" hidden="1">
            <a:extLst>
              <a:ext uri="{FF2B5EF4-FFF2-40B4-BE49-F238E27FC236}">
                <a16:creationId xmlns:a16="http://schemas.microsoft.com/office/drawing/2014/main" id="{45759EC7-24B3-4C8A-BDAF-CA15F7A34D3E}"/>
              </a:ext>
            </a:extLst>
          </p:cNvPr>
          <p:cNvGraphicFramePr>
            <a:graphicFrameLocks noChangeAspect="1"/>
          </p:cNvGraphicFramePr>
          <p:nvPr>
            <p:custDataLst>
              <p:tags r:id="rId38"/>
            </p:custDataLst>
            <p:extLst>
              <p:ext uri="{D42A27DB-BD31-4B8C-83A1-F6EECF244321}">
                <p14:modId xmlns:p14="http://schemas.microsoft.com/office/powerpoint/2010/main" val="254699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077" name="think-cell Slide" r:id="rId48" imgW="270" imgH="270" progId="TCLayout.ActiveDocument.1">
                  <p:embed/>
                </p:oleObj>
              </mc:Choice>
              <mc:Fallback>
                <p:oleObj name="think-cell Slide" r:id="rId48" imgW="270" imgH="270" progId="TCLayout.ActiveDocument.1">
                  <p:embed/>
                  <p:pic>
                    <p:nvPicPr>
                      <p:cNvPr id="6" name="Object 5" hidden="1">
                        <a:extLst>
                          <a:ext uri="{FF2B5EF4-FFF2-40B4-BE49-F238E27FC236}">
                            <a16:creationId xmlns:a16="http://schemas.microsoft.com/office/drawing/2014/main" id="{45759EC7-24B3-4C8A-BDAF-CA15F7A34D3E}"/>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30AF223-A835-41C0-8FF1-67DF95B18047}"/>
              </a:ext>
            </a:extLst>
          </p:cNvPr>
          <p:cNvSpPr/>
          <p:nvPr>
            <p:custDataLst>
              <p:tags r:id="rId3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aphicFrame>
        <p:nvGraphicFramePr>
          <p:cNvPr id="8" name="Object 7" hidden="1">
            <a:extLst>
              <a:ext uri="{FF2B5EF4-FFF2-40B4-BE49-F238E27FC236}">
                <a16:creationId xmlns:a16="http://schemas.microsoft.com/office/drawing/2014/main" id="{381B75B4-AEA4-4FAB-B889-2CFCA25F6D7E}"/>
              </a:ext>
            </a:extLst>
          </p:cNvPr>
          <p:cNvGraphicFramePr>
            <a:graphicFrameLocks noChangeAspect="1"/>
          </p:cNvGraphicFramePr>
          <p:nvPr>
            <p:custDataLst>
              <p:tags r:id="rId40"/>
            </p:custDataLst>
            <p:extLst>
              <p:ext uri="{D42A27DB-BD31-4B8C-83A1-F6EECF244321}">
                <p14:modId xmlns:p14="http://schemas.microsoft.com/office/powerpoint/2010/main" val="1528427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078" name="think-cell Slide" r:id="rId49" imgW="270" imgH="270" progId="TCLayout.ActiveDocument.1">
                  <p:embed/>
                </p:oleObj>
              </mc:Choice>
              <mc:Fallback>
                <p:oleObj name="think-cell Slide" r:id="rId49" imgW="270" imgH="270" progId="TCLayout.ActiveDocument.1">
                  <p:embed/>
                  <p:pic>
                    <p:nvPicPr>
                      <p:cNvPr id="8" name="Object 7" hidden="1">
                        <a:extLst>
                          <a:ext uri="{FF2B5EF4-FFF2-40B4-BE49-F238E27FC236}">
                            <a16:creationId xmlns:a16="http://schemas.microsoft.com/office/drawing/2014/main" id="{381B75B4-AEA4-4FAB-B889-2CFCA25F6D7E}"/>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BCF3972-DE24-411F-B61E-BE6ABD1EF009}"/>
              </a:ext>
            </a:extLst>
          </p:cNvPr>
          <p:cNvSpPr/>
          <p:nvPr>
            <p:custDataLst>
              <p:tags r:id="rId4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pSp>
        <p:nvGrpSpPr>
          <p:cNvPr id="11" name="Group 10">
            <a:extLst>
              <a:ext uri="{FF2B5EF4-FFF2-40B4-BE49-F238E27FC236}">
                <a16:creationId xmlns:a16="http://schemas.microsoft.com/office/drawing/2014/main" id="{A2D24452-3069-43C9-BF60-6DC10CDA9482}"/>
              </a:ext>
            </a:extLst>
          </p:cNvPr>
          <p:cNvGrpSpPr/>
          <p:nvPr/>
        </p:nvGrpSpPr>
        <p:grpSpPr>
          <a:xfrm>
            <a:off x="167808" y="6353461"/>
            <a:ext cx="271462" cy="351028"/>
            <a:chOff x="4124325" y="4591050"/>
            <a:chExt cx="460375" cy="595313"/>
          </a:xfrm>
        </p:grpSpPr>
        <p:sp>
          <p:nvSpPr>
            <p:cNvPr id="12" name="Freeform 25">
              <a:extLst>
                <a:ext uri="{FF2B5EF4-FFF2-40B4-BE49-F238E27FC236}">
                  <a16:creationId xmlns:a16="http://schemas.microsoft.com/office/drawing/2014/main" id="{64F995BC-9AB3-4C1E-AF05-3AD41CE55BB3}"/>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6">
              <a:extLst>
                <a:ext uri="{FF2B5EF4-FFF2-40B4-BE49-F238E27FC236}">
                  <a16:creationId xmlns:a16="http://schemas.microsoft.com/office/drawing/2014/main" id="{8767DCC5-D1F2-47B1-9605-499CF512DD65}"/>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7">
              <a:extLst>
                <a:ext uri="{FF2B5EF4-FFF2-40B4-BE49-F238E27FC236}">
                  <a16:creationId xmlns:a16="http://schemas.microsoft.com/office/drawing/2014/main" id="{33DD2B46-3580-4B04-AB64-5E1F2F1E29BB}"/>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8">
              <a:extLst>
                <a:ext uri="{FF2B5EF4-FFF2-40B4-BE49-F238E27FC236}">
                  <a16:creationId xmlns:a16="http://schemas.microsoft.com/office/drawing/2014/main" id="{E648602D-8786-4652-8ED5-0040091491FB}"/>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9">
              <a:extLst>
                <a:ext uri="{FF2B5EF4-FFF2-40B4-BE49-F238E27FC236}">
                  <a16:creationId xmlns:a16="http://schemas.microsoft.com/office/drawing/2014/main" id="{1CD75245-BED5-46A8-92BC-48BFACCBF66D}"/>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0">
              <a:extLst>
                <a:ext uri="{FF2B5EF4-FFF2-40B4-BE49-F238E27FC236}">
                  <a16:creationId xmlns:a16="http://schemas.microsoft.com/office/drawing/2014/main" id="{F7C475DD-8590-4884-AB99-5513A1533B99}"/>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1">
              <a:extLst>
                <a:ext uri="{FF2B5EF4-FFF2-40B4-BE49-F238E27FC236}">
                  <a16:creationId xmlns:a16="http://schemas.microsoft.com/office/drawing/2014/main" id="{989CA8EA-B116-4BD1-9AD2-7243B32C27CF}"/>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2">
              <a:extLst>
                <a:ext uri="{FF2B5EF4-FFF2-40B4-BE49-F238E27FC236}">
                  <a16:creationId xmlns:a16="http://schemas.microsoft.com/office/drawing/2014/main" id="{24FC1C6E-C553-417C-A6FB-1ABC72F434E7}"/>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3">
              <a:extLst>
                <a:ext uri="{FF2B5EF4-FFF2-40B4-BE49-F238E27FC236}">
                  <a16:creationId xmlns:a16="http://schemas.microsoft.com/office/drawing/2014/main" id="{9D2C29AD-E20F-4684-92B2-2960823676DE}"/>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a:extLst>
              <a:ext uri="{FF2B5EF4-FFF2-40B4-BE49-F238E27FC236}">
                <a16:creationId xmlns:a16="http://schemas.microsoft.com/office/drawing/2014/main" id="{6855279C-539B-4A2A-98D2-4E247335F015}"/>
              </a:ext>
            </a:extLst>
          </p:cNvPr>
          <p:cNvGrpSpPr/>
          <p:nvPr userDrawn="1"/>
        </p:nvGrpSpPr>
        <p:grpSpPr>
          <a:xfrm>
            <a:off x="11010900" y="0"/>
            <a:ext cx="1181100" cy="6858000"/>
            <a:chOff x="10896600" y="0"/>
            <a:chExt cx="1295400" cy="6834188"/>
          </a:xfrm>
        </p:grpSpPr>
        <p:sp>
          <p:nvSpPr>
            <p:cNvPr id="28" name="Freeform 5">
              <a:extLst>
                <a:ext uri="{FF2B5EF4-FFF2-40B4-BE49-F238E27FC236}">
                  <a16:creationId xmlns:a16="http://schemas.microsoft.com/office/drawing/2014/main" id="{760BE8FF-B35D-4540-A523-46710661A4D4}"/>
                </a:ext>
              </a:extLst>
            </p:cNvPr>
            <p:cNvSpPr>
              <a:spLocks/>
            </p:cNvSpPr>
            <p:nvPr/>
          </p:nvSpPr>
          <p:spPr bwMode="auto">
            <a:xfrm>
              <a:off x="11083925" y="0"/>
              <a:ext cx="1108075" cy="6834188"/>
            </a:xfrm>
            <a:custGeom>
              <a:avLst/>
              <a:gdLst>
                <a:gd name="T0" fmla="*/ 698 w 698"/>
                <a:gd name="T1" fmla="*/ 0 h 4305"/>
                <a:gd name="T2" fmla="*/ 698 w 698"/>
                <a:gd name="T3" fmla="*/ 4305 h 4305"/>
                <a:gd name="T4" fmla="*/ 420 w 698"/>
                <a:gd name="T5" fmla="*/ 4305 h 4305"/>
                <a:gd name="T6" fmla="*/ 0 w 698"/>
                <a:gd name="T7" fmla="*/ 2264 h 4305"/>
                <a:gd name="T8" fmla="*/ 258 w 698"/>
                <a:gd name="T9" fmla="*/ 311 h 4305"/>
                <a:gd name="T10" fmla="*/ 334 w 698"/>
                <a:gd name="T11" fmla="*/ 0 h 4305"/>
                <a:gd name="T12" fmla="*/ 698 w 698"/>
                <a:gd name="T13" fmla="*/ 0 h 4305"/>
              </a:gdLst>
              <a:ahLst/>
              <a:cxnLst>
                <a:cxn ang="0">
                  <a:pos x="T0" y="T1"/>
                </a:cxn>
                <a:cxn ang="0">
                  <a:pos x="T2" y="T3"/>
                </a:cxn>
                <a:cxn ang="0">
                  <a:pos x="T4" y="T5"/>
                </a:cxn>
                <a:cxn ang="0">
                  <a:pos x="T6" y="T7"/>
                </a:cxn>
                <a:cxn ang="0">
                  <a:pos x="T8" y="T9"/>
                </a:cxn>
                <a:cxn ang="0">
                  <a:pos x="T10" y="T11"/>
                </a:cxn>
                <a:cxn ang="0">
                  <a:pos x="T12" y="T13"/>
                </a:cxn>
              </a:cxnLst>
              <a:rect l="0" t="0" r="r" b="b"/>
              <a:pathLst>
                <a:path w="698" h="4305">
                  <a:moveTo>
                    <a:pt x="698" y="0"/>
                  </a:moveTo>
                  <a:lnTo>
                    <a:pt x="698" y="4305"/>
                  </a:lnTo>
                  <a:lnTo>
                    <a:pt x="420" y="4305"/>
                  </a:lnTo>
                  <a:lnTo>
                    <a:pt x="0" y="2264"/>
                  </a:lnTo>
                  <a:lnTo>
                    <a:pt x="258" y="311"/>
                  </a:lnTo>
                  <a:lnTo>
                    <a:pt x="334" y="0"/>
                  </a:lnTo>
                  <a:lnTo>
                    <a:pt x="698" y="0"/>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a:extLst>
                <a:ext uri="{FF2B5EF4-FFF2-40B4-BE49-F238E27FC236}">
                  <a16:creationId xmlns:a16="http://schemas.microsoft.com/office/drawing/2014/main" id="{A0A4ABDD-EDE4-4314-8BAA-8D712E550B5F}"/>
                </a:ext>
              </a:extLst>
            </p:cNvPr>
            <p:cNvSpPr>
              <a:spLocks/>
            </p:cNvSpPr>
            <p:nvPr userDrawn="1"/>
          </p:nvSpPr>
          <p:spPr bwMode="auto">
            <a:xfrm>
              <a:off x="11328400" y="0"/>
              <a:ext cx="863600" cy="608013"/>
            </a:xfrm>
            <a:custGeom>
              <a:avLst/>
              <a:gdLst>
                <a:gd name="T0" fmla="*/ 544 w 544"/>
                <a:gd name="T1" fmla="*/ 0 h 383"/>
                <a:gd name="T2" fmla="*/ 0 w 544"/>
                <a:gd name="T3" fmla="*/ 383 h 383"/>
                <a:gd name="T4" fmla="*/ 94 w 544"/>
                <a:gd name="T5" fmla="*/ 0 h 383"/>
                <a:gd name="T6" fmla="*/ 544 w 544"/>
                <a:gd name="T7" fmla="*/ 0 h 383"/>
              </a:gdLst>
              <a:ahLst/>
              <a:cxnLst>
                <a:cxn ang="0">
                  <a:pos x="T0" y="T1"/>
                </a:cxn>
                <a:cxn ang="0">
                  <a:pos x="T2" y="T3"/>
                </a:cxn>
                <a:cxn ang="0">
                  <a:pos x="T4" y="T5"/>
                </a:cxn>
                <a:cxn ang="0">
                  <a:pos x="T6" y="T7"/>
                </a:cxn>
              </a:cxnLst>
              <a:rect l="0" t="0" r="r" b="b"/>
              <a:pathLst>
                <a:path w="544" h="383">
                  <a:moveTo>
                    <a:pt x="544" y="0"/>
                  </a:moveTo>
                  <a:lnTo>
                    <a:pt x="0" y="383"/>
                  </a:lnTo>
                  <a:lnTo>
                    <a:pt x="94" y="0"/>
                  </a:lnTo>
                  <a:lnTo>
                    <a:pt x="544" y="0"/>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a:extLst>
                <a:ext uri="{FF2B5EF4-FFF2-40B4-BE49-F238E27FC236}">
                  <a16:creationId xmlns:a16="http://schemas.microsoft.com/office/drawing/2014/main" id="{96ED428E-EB55-4E0B-A7D8-0D282C703A95}"/>
                </a:ext>
              </a:extLst>
            </p:cNvPr>
            <p:cNvSpPr>
              <a:spLocks/>
            </p:cNvSpPr>
            <p:nvPr/>
          </p:nvSpPr>
          <p:spPr bwMode="auto">
            <a:xfrm>
              <a:off x="11166476" y="180975"/>
              <a:ext cx="768350" cy="2798763"/>
            </a:xfrm>
            <a:custGeom>
              <a:avLst/>
              <a:gdLst>
                <a:gd name="T0" fmla="*/ 484 w 484"/>
                <a:gd name="T1" fmla="*/ 0 h 1763"/>
                <a:gd name="T2" fmla="*/ 0 w 484"/>
                <a:gd name="T3" fmla="*/ 1763 h 1763"/>
                <a:gd name="T4" fmla="*/ 206 w 484"/>
                <a:gd name="T5" fmla="*/ 197 h 1763"/>
                <a:gd name="T6" fmla="*/ 484 w 484"/>
                <a:gd name="T7" fmla="*/ 0 h 1763"/>
              </a:gdLst>
              <a:ahLst/>
              <a:cxnLst>
                <a:cxn ang="0">
                  <a:pos x="T0" y="T1"/>
                </a:cxn>
                <a:cxn ang="0">
                  <a:pos x="T2" y="T3"/>
                </a:cxn>
                <a:cxn ang="0">
                  <a:pos x="T4" y="T5"/>
                </a:cxn>
                <a:cxn ang="0">
                  <a:pos x="T6" y="T7"/>
                </a:cxn>
              </a:cxnLst>
              <a:rect l="0" t="0" r="r" b="b"/>
              <a:pathLst>
                <a:path w="484" h="1763">
                  <a:moveTo>
                    <a:pt x="484" y="0"/>
                  </a:moveTo>
                  <a:lnTo>
                    <a:pt x="0" y="1763"/>
                  </a:lnTo>
                  <a:lnTo>
                    <a:pt x="206" y="197"/>
                  </a:lnTo>
                  <a:lnTo>
                    <a:pt x="484" y="0"/>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a:extLst>
                <a:ext uri="{FF2B5EF4-FFF2-40B4-BE49-F238E27FC236}">
                  <a16:creationId xmlns:a16="http://schemas.microsoft.com/office/drawing/2014/main" id="{B68AB937-9D5A-4FDC-AD0B-F48A8421D4C7}"/>
                </a:ext>
              </a:extLst>
            </p:cNvPr>
            <p:cNvSpPr>
              <a:spLocks/>
            </p:cNvSpPr>
            <p:nvPr/>
          </p:nvSpPr>
          <p:spPr bwMode="auto">
            <a:xfrm>
              <a:off x="10896600" y="2863850"/>
              <a:ext cx="854075" cy="3970338"/>
            </a:xfrm>
            <a:custGeom>
              <a:avLst/>
              <a:gdLst>
                <a:gd name="T0" fmla="*/ 190 w 538"/>
                <a:gd name="T1" fmla="*/ 0 h 2501"/>
                <a:gd name="T2" fmla="*/ 538 w 538"/>
                <a:gd name="T3" fmla="*/ 2501 h 2501"/>
                <a:gd name="T4" fmla="*/ 0 w 538"/>
                <a:gd name="T5" fmla="*/ 293 h 2501"/>
                <a:gd name="T6" fmla="*/ 190 w 538"/>
                <a:gd name="T7" fmla="*/ 0 h 2501"/>
              </a:gdLst>
              <a:ahLst/>
              <a:cxnLst>
                <a:cxn ang="0">
                  <a:pos x="T0" y="T1"/>
                </a:cxn>
                <a:cxn ang="0">
                  <a:pos x="T2" y="T3"/>
                </a:cxn>
                <a:cxn ang="0">
                  <a:pos x="T4" y="T5"/>
                </a:cxn>
                <a:cxn ang="0">
                  <a:pos x="T6" y="T7"/>
                </a:cxn>
              </a:cxnLst>
              <a:rect l="0" t="0" r="r" b="b"/>
              <a:pathLst>
                <a:path w="538" h="2501">
                  <a:moveTo>
                    <a:pt x="190" y="0"/>
                  </a:moveTo>
                  <a:lnTo>
                    <a:pt x="538" y="2501"/>
                  </a:lnTo>
                  <a:lnTo>
                    <a:pt x="0" y="293"/>
                  </a:lnTo>
                  <a:lnTo>
                    <a:pt x="190" y="0"/>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 name="Rectangle 25">
            <a:extLst>
              <a:ext uri="{FF2B5EF4-FFF2-40B4-BE49-F238E27FC236}">
                <a16:creationId xmlns:a16="http://schemas.microsoft.com/office/drawing/2014/main" id="{5A346065-8680-443A-A45F-6C62317DD2A0}"/>
              </a:ext>
            </a:extLst>
          </p:cNvPr>
          <p:cNvSpPr/>
          <p:nvPr/>
        </p:nvSpPr>
        <p:spPr>
          <a:xfrm rot="16200000">
            <a:off x="11016961" y="3336668"/>
            <a:ext cx="1886735" cy="184666"/>
          </a:xfrm>
          <a:prstGeom prst="rect">
            <a:avLst/>
          </a:prstGeom>
        </p:spPr>
        <p:txBody>
          <a:bodyPr wrap="none" lIns="0" tIns="0" rIns="0" bIns="0" anchor="ctr">
            <a:spAutoFit/>
          </a:bodyPr>
          <a:lstStyle/>
          <a:p>
            <a:pPr>
              <a:lnSpc>
                <a:spcPct val="100000"/>
              </a:lnSpc>
              <a:spcBef>
                <a:spcPts val="1200"/>
              </a:spcBef>
              <a:spcAft>
                <a:spcPts val="1200"/>
              </a:spcAft>
            </a:pPr>
            <a:r>
              <a:rPr lang="en-US" sz="1200" spc="100" baseline="0" dirty="0">
                <a:solidFill>
                  <a:schemeClr val="bg1"/>
                </a:solidFill>
                <a:effectLst/>
                <a:latin typeface="+mn-lt"/>
                <a:ea typeface="BatangChe" panose="02030609000101010101" pitchFamily="49" charset="-127"/>
                <a:cs typeface="Arial" panose="020B0604020202020204" pitchFamily="34" charset="0"/>
              </a:rPr>
              <a:t>@</a:t>
            </a:r>
            <a:r>
              <a:rPr lang="en-US" sz="1200" spc="100" baseline="0" dirty="0" err="1">
                <a:solidFill>
                  <a:schemeClr val="bg1"/>
                </a:solidFill>
                <a:effectLst/>
                <a:latin typeface="+mn-lt"/>
                <a:ea typeface="BatangChe" panose="02030609000101010101" pitchFamily="49" charset="-127"/>
                <a:cs typeface="Arial" panose="020B0604020202020204" pitchFamily="34" charset="0"/>
              </a:rPr>
              <a:t>sparta_eu</a:t>
            </a:r>
            <a:r>
              <a:rPr lang="en-US" sz="1200" spc="100" baseline="0" dirty="0">
                <a:solidFill>
                  <a:schemeClr val="bg1"/>
                </a:solidFill>
                <a:effectLst/>
                <a:latin typeface="+mn-lt"/>
                <a:ea typeface="BatangChe" panose="02030609000101010101" pitchFamily="49" charset="-127"/>
                <a:cs typeface="Arial" panose="020B0604020202020204" pitchFamily="34" charset="0"/>
              </a:rPr>
              <a:t> | sparta.eu</a:t>
            </a:r>
            <a:endParaRPr lang="fr-FR" sz="2000" spc="100" baseline="0" dirty="0">
              <a:solidFill>
                <a:schemeClr val="bg1"/>
              </a:solidFill>
              <a:effectLst/>
              <a:latin typeface="+mn-lt"/>
              <a:ea typeface="BatangChe" panose="02030609000101010101" pitchFamily="49" charset="-127"/>
              <a:cs typeface="Arial" panose="020B0604020202020204" pitchFamily="34" charset="0"/>
            </a:endParaRPr>
          </a:p>
        </p:txBody>
      </p:sp>
      <p:sp>
        <p:nvSpPr>
          <p:cNvPr id="27" name="Rectangle 26">
            <a:extLst>
              <a:ext uri="{FF2B5EF4-FFF2-40B4-BE49-F238E27FC236}">
                <a16:creationId xmlns:a16="http://schemas.microsoft.com/office/drawing/2014/main" id="{F6E1DEFD-C5E6-4EC2-AB69-7A0ECE8E0A2A}"/>
              </a:ext>
            </a:extLst>
          </p:cNvPr>
          <p:cNvSpPr/>
          <p:nvPr/>
        </p:nvSpPr>
        <p:spPr>
          <a:xfrm>
            <a:off x="11851325" y="6411498"/>
            <a:ext cx="218009" cy="215444"/>
          </a:xfrm>
          <a:prstGeom prst="rect">
            <a:avLst/>
          </a:prstGeom>
        </p:spPr>
        <p:txBody>
          <a:bodyPr wrap="none" lIns="0" tIns="0" rIns="0" bIns="0" anchor="ctr">
            <a:spAutoFit/>
          </a:bodyPr>
          <a:lstStyle/>
          <a:p>
            <a:pPr algn="ctr">
              <a:lnSpc>
                <a:spcPct val="100000"/>
              </a:lnSpc>
              <a:spcBef>
                <a:spcPts val="1200"/>
              </a:spcBef>
              <a:spcAft>
                <a:spcPts val="1200"/>
              </a:spcAft>
            </a:pPr>
            <a:fld id="{0328457F-132B-4300-A6DA-AA6E301E4F7F}" type="slidenum">
              <a:rPr lang="en-US" sz="1400" smtClean="0">
                <a:solidFill>
                  <a:schemeClr val="bg1"/>
                </a:solidFill>
                <a:effectLst/>
                <a:latin typeface="+mn-lt"/>
                <a:ea typeface="BatangChe" panose="02030609000101010101" pitchFamily="49" charset="-127"/>
                <a:cs typeface="Arial" panose="020B0604020202020204" pitchFamily="34" charset="0"/>
              </a:rPr>
              <a:t>‹#›</a:t>
            </a:fld>
            <a:endParaRPr lang="fr-FR" sz="2400" dirty="0">
              <a:solidFill>
                <a:schemeClr val="bg1"/>
              </a:solidFill>
              <a:effectLst/>
              <a:latin typeface="+mn-lt"/>
              <a:ea typeface="BatangChe" panose="02030609000101010101" pitchFamily="49" charset="-127"/>
              <a:cs typeface="Arial" panose="020B0604020202020204" pitchFamily="34" charset="0"/>
            </a:endParaRPr>
          </a:p>
        </p:txBody>
      </p:sp>
      <p:graphicFrame>
        <p:nvGraphicFramePr>
          <p:cNvPr id="32" name="Object 31" hidden="1">
            <a:extLst>
              <a:ext uri="{FF2B5EF4-FFF2-40B4-BE49-F238E27FC236}">
                <a16:creationId xmlns:a16="http://schemas.microsoft.com/office/drawing/2014/main" id="{C3F33D86-0E0A-4F5E-BE04-18C2F0FD8F14}"/>
              </a:ext>
            </a:extLst>
          </p:cNvPr>
          <p:cNvGraphicFramePr>
            <a:graphicFrameLocks noChangeAspect="1"/>
          </p:cNvGraphicFramePr>
          <p:nvPr>
            <p:custDataLst>
              <p:tags r:id="rId42"/>
            </p:custDataLst>
            <p:extLst>
              <p:ext uri="{D42A27DB-BD31-4B8C-83A1-F6EECF244321}">
                <p14:modId xmlns:p14="http://schemas.microsoft.com/office/powerpoint/2010/main" val="3404492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079" name="think-cell Slide" r:id="rId50" imgW="270" imgH="270" progId="TCLayout.ActiveDocument.1">
                  <p:embed/>
                </p:oleObj>
              </mc:Choice>
              <mc:Fallback>
                <p:oleObj name="think-cell Slide" r:id="rId50" imgW="270" imgH="270" progId="TCLayout.ActiveDocument.1">
                  <p:embed/>
                  <p:pic>
                    <p:nvPicPr>
                      <p:cNvPr id="32" name="Object 31" hidden="1">
                        <a:extLst>
                          <a:ext uri="{FF2B5EF4-FFF2-40B4-BE49-F238E27FC236}">
                            <a16:creationId xmlns:a16="http://schemas.microsoft.com/office/drawing/2014/main" id="{C3F33D86-0E0A-4F5E-BE04-18C2F0FD8F14}"/>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001CF49D-6018-43E2-AA50-A37C37DD3866}"/>
              </a:ext>
            </a:extLst>
          </p:cNvPr>
          <p:cNvSpPr/>
          <p:nvPr>
            <p:custDataLst>
              <p:tags r:id="rId4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pSp>
        <p:nvGrpSpPr>
          <p:cNvPr id="35" name="Group 34">
            <a:extLst>
              <a:ext uri="{FF2B5EF4-FFF2-40B4-BE49-F238E27FC236}">
                <a16:creationId xmlns:a16="http://schemas.microsoft.com/office/drawing/2014/main" id="{8CA5D29D-C11E-4B14-BC9E-4134FC19EBFB}"/>
              </a:ext>
            </a:extLst>
          </p:cNvPr>
          <p:cNvGrpSpPr/>
          <p:nvPr/>
        </p:nvGrpSpPr>
        <p:grpSpPr>
          <a:xfrm>
            <a:off x="167808" y="6353461"/>
            <a:ext cx="271462" cy="351028"/>
            <a:chOff x="4124325" y="4591050"/>
            <a:chExt cx="460375" cy="595313"/>
          </a:xfrm>
        </p:grpSpPr>
        <p:sp>
          <p:nvSpPr>
            <p:cNvPr id="36" name="Freeform 25">
              <a:extLst>
                <a:ext uri="{FF2B5EF4-FFF2-40B4-BE49-F238E27FC236}">
                  <a16:creationId xmlns:a16="http://schemas.microsoft.com/office/drawing/2014/main" id="{8273E85B-6C25-46B4-B890-3BD6B1733CD0}"/>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8B1FC910-036C-4CA2-B9E4-082CC830AF24}"/>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B235EC5C-68B2-4C25-A7D1-AEE3A629CA1E}"/>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D1091D35-B897-4BCD-AC06-B5CD7EA0DB15}"/>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9">
              <a:extLst>
                <a:ext uri="{FF2B5EF4-FFF2-40B4-BE49-F238E27FC236}">
                  <a16:creationId xmlns:a16="http://schemas.microsoft.com/office/drawing/2014/main" id="{7E1EA12C-368C-4A26-A37A-BDEF26B52863}"/>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0">
              <a:extLst>
                <a:ext uri="{FF2B5EF4-FFF2-40B4-BE49-F238E27FC236}">
                  <a16:creationId xmlns:a16="http://schemas.microsoft.com/office/drawing/2014/main" id="{9EE8E045-66BD-40F5-88F5-498821DF267F}"/>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1">
              <a:extLst>
                <a:ext uri="{FF2B5EF4-FFF2-40B4-BE49-F238E27FC236}">
                  <a16:creationId xmlns:a16="http://schemas.microsoft.com/office/drawing/2014/main" id="{D3E9F10F-D425-44E7-8CB5-36B76201B220}"/>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2">
              <a:extLst>
                <a:ext uri="{FF2B5EF4-FFF2-40B4-BE49-F238E27FC236}">
                  <a16:creationId xmlns:a16="http://schemas.microsoft.com/office/drawing/2014/main" id="{8B39189E-56CF-49F7-996E-6457A11B4AB0}"/>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3">
              <a:extLst>
                <a:ext uri="{FF2B5EF4-FFF2-40B4-BE49-F238E27FC236}">
                  <a16:creationId xmlns:a16="http://schemas.microsoft.com/office/drawing/2014/main" id="{E74A06D7-8AF7-42E4-B91B-1C0A45BCDFCD}"/>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Rectangle 9">
            <a:extLst>
              <a:ext uri="{FF2B5EF4-FFF2-40B4-BE49-F238E27FC236}">
                <a16:creationId xmlns:a16="http://schemas.microsoft.com/office/drawing/2014/main" id="{42BEB269-F91F-458E-896B-10C7CC8E8AEF}"/>
              </a:ext>
            </a:extLst>
          </p:cNvPr>
          <p:cNvSpPr/>
          <p:nvPr/>
        </p:nvSpPr>
        <p:spPr>
          <a:xfrm>
            <a:off x="240702" y="360844"/>
            <a:ext cx="76200" cy="6488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45" name="Object 44" hidden="1">
            <a:extLst>
              <a:ext uri="{FF2B5EF4-FFF2-40B4-BE49-F238E27FC236}">
                <a16:creationId xmlns:a16="http://schemas.microsoft.com/office/drawing/2014/main" id="{B6A8E5E9-3DED-4186-BD10-F2C817F7F848}"/>
              </a:ext>
            </a:extLst>
          </p:cNvPr>
          <p:cNvGraphicFramePr>
            <a:graphicFrameLocks noChangeAspect="1"/>
          </p:cNvGraphicFramePr>
          <p:nvPr userDrawn="1">
            <p:custDataLst>
              <p:tags r:id="rId44"/>
            </p:custDataLst>
            <p:extLst>
              <p:ext uri="{D42A27DB-BD31-4B8C-83A1-F6EECF244321}">
                <p14:modId xmlns:p14="http://schemas.microsoft.com/office/powerpoint/2010/main" val="731605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080" name="think-cell Slide" r:id="rId51" imgW="270" imgH="270" progId="TCLayout.ActiveDocument.1">
                  <p:embed/>
                </p:oleObj>
              </mc:Choice>
              <mc:Fallback>
                <p:oleObj name="think-cell Slide" r:id="rId51" imgW="270" imgH="270" progId="TCLayout.ActiveDocument.1">
                  <p:embed/>
                  <p:pic>
                    <p:nvPicPr>
                      <p:cNvPr id="32" name="Object 31" hidden="1">
                        <a:extLst>
                          <a:ext uri="{FF2B5EF4-FFF2-40B4-BE49-F238E27FC236}">
                            <a16:creationId xmlns:a16="http://schemas.microsoft.com/office/drawing/2014/main" id="{C3F33D86-0E0A-4F5E-BE04-18C2F0FD8F14}"/>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4CAD0CA-F2B7-4794-AF83-E1200D8C943A}"/>
              </a:ext>
            </a:extLst>
          </p:cNvPr>
          <p:cNvSpPr/>
          <p:nvPr userDrawn="1">
            <p:custDataLst>
              <p:tags r:id="rId4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000" b="0" i="0" baseline="0" dirty="0">
              <a:latin typeface="Arial" panose="020B0604020202020204" pitchFamily="34" charset="0"/>
              <a:ea typeface="+mj-ea"/>
              <a:cs typeface="+mj-cs"/>
              <a:sym typeface="Lato Semibold" panose="020F0502020204030203" pitchFamily="34" charset="0"/>
            </a:endParaRPr>
          </a:p>
        </p:txBody>
      </p:sp>
      <p:grpSp>
        <p:nvGrpSpPr>
          <p:cNvPr id="47" name="Group 46">
            <a:extLst>
              <a:ext uri="{FF2B5EF4-FFF2-40B4-BE49-F238E27FC236}">
                <a16:creationId xmlns:a16="http://schemas.microsoft.com/office/drawing/2014/main" id="{913E804F-7227-4028-B77C-35175004DBC3}"/>
              </a:ext>
            </a:extLst>
          </p:cNvPr>
          <p:cNvGrpSpPr/>
          <p:nvPr userDrawn="1"/>
        </p:nvGrpSpPr>
        <p:grpSpPr>
          <a:xfrm>
            <a:off x="167808" y="6353461"/>
            <a:ext cx="271462" cy="351028"/>
            <a:chOff x="4124325" y="4591050"/>
            <a:chExt cx="460375" cy="595313"/>
          </a:xfrm>
        </p:grpSpPr>
        <p:sp>
          <p:nvSpPr>
            <p:cNvPr id="48" name="Freeform 25">
              <a:extLst>
                <a:ext uri="{FF2B5EF4-FFF2-40B4-BE49-F238E27FC236}">
                  <a16:creationId xmlns:a16="http://schemas.microsoft.com/office/drawing/2014/main" id="{81D616EA-C486-466A-B6CD-649E4C7C032D}"/>
                </a:ext>
              </a:extLst>
            </p:cNvPr>
            <p:cNvSpPr>
              <a:spLocks/>
            </p:cNvSpPr>
            <p:nvPr/>
          </p:nvSpPr>
          <p:spPr bwMode="auto">
            <a:xfrm>
              <a:off x="4124325" y="4983163"/>
              <a:ext cx="457200" cy="203200"/>
            </a:xfrm>
            <a:custGeom>
              <a:avLst/>
              <a:gdLst>
                <a:gd name="T0" fmla="*/ 143 w 288"/>
                <a:gd name="T1" fmla="*/ 66 h 128"/>
                <a:gd name="T2" fmla="*/ 228 w 288"/>
                <a:gd name="T3" fmla="*/ 23 h 128"/>
                <a:gd name="T4" fmla="*/ 283 w 288"/>
                <a:gd name="T5" fmla="*/ 0 h 128"/>
                <a:gd name="T6" fmla="*/ 288 w 288"/>
                <a:gd name="T7" fmla="*/ 3 h 128"/>
                <a:gd name="T8" fmla="*/ 283 w 288"/>
                <a:gd name="T9" fmla="*/ 62 h 128"/>
                <a:gd name="T10" fmla="*/ 156 w 288"/>
                <a:gd name="T11" fmla="*/ 128 h 128"/>
                <a:gd name="T12" fmla="*/ 131 w 288"/>
                <a:gd name="T13" fmla="*/ 128 h 128"/>
                <a:gd name="T14" fmla="*/ 4 w 288"/>
                <a:gd name="T15" fmla="*/ 62 h 128"/>
                <a:gd name="T16" fmla="*/ 0 w 288"/>
                <a:gd name="T17" fmla="*/ 3 h 128"/>
                <a:gd name="T18" fmla="*/ 4 w 288"/>
                <a:gd name="T19" fmla="*/ 0 h 128"/>
                <a:gd name="T20" fmla="*/ 59 w 288"/>
                <a:gd name="T21" fmla="*/ 23 h 128"/>
                <a:gd name="T22" fmla="*/ 143 w 288"/>
                <a:gd name="T23"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8">
                  <a:moveTo>
                    <a:pt x="143" y="66"/>
                  </a:moveTo>
                  <a:lnTo>
                    <a:pt x="228" y="23"/>
                  </a:lnTo>
                  <a:lnTo>
                    <a:pt x="283" y="0"/>
                  </a:lnTo>
                  <a:lnTo>
                    <a:pt x="288" y="3"/>
                  </a:lnTo>
                  <a:lnTo>
                    <a:pt x="283" y="62"/>
                  </a:lnTo>
                  <a:lnTo>
                    <a:pt x="156" y="128"/>
                  </a:lnTo>
                  <a:lnTo>
                    <a:pt x="131" y="128"/>
                  </a:lnTo>
                  <a:lnTo>
                    <a:pt x="4" y="62"/>
                  </a:lnTo>
                  <a:lnTo>
                    <a:pt x="0" y="3"/>
                  </a:lnTo>
                  <a:lnTo>
                    <a:pt x="4" y="0"/>
                  </a:lnTo>
                  <a:lnTo>
                    <a:pt x="59" y="23"/>
                  </a:lnTo>
                  <a:lnTo>
                    <a:pt x="143" y="66"/>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6">
              <a:extLst>
                <a:ext uri="{FF2B5EF4-FFF2-40B4-BE49-F238E27FC236}">
                  <a16:creationId xmlns:a16="http://schemas.microsoft.com/office/drawing/2014/main" id="{8FEBF371-6DC7-4DA1-BDD7-5386F91B78F2}"/>
                </a:ext>
              </a:extLst>
            </p:cNvPr>
            <p:cNvSpPr>
              <a:spLocks/>
            </p:cNvSpPr>
            <p:nvPr/>
          </p:nvSpPr>
          <p:spPr bwMode="auto">
            <a:xfrm>
              <a:off x="4124325" y="4689475"/>
              <a:ext cx="457200" cy="403225"/>
            </a:xfrm>
            <a:custGeom>
              <a:avLst/>
              <a:gdLst>
                <a:gd name="T0" fmla="*/ 288 w 288"/>
                <a:gd name="T1" fmla="*/ 188 h 254"/>
                <a:gd name="T2" fmla="*/ 283 w 288"/>
                <a:gd name="T3" fmla="*/ 247 h 254"/>
                <a:gd name="T4" fmla="*/ 270 w 288"/>
                <a:gd name="T5" fmla="*/ 254 h 254"/>
                <a:gd name="T6" fmla="*/ 0 w 288"/>
                <a:gd name="T7" fmla="*/ 17 h 254"/>
                <a:gd name="T8" fmla="*/ 0 w 288"/>
                <a:gd name="T9" fmla="*/ 11 h 254"/>
                <a:gd name="T10" fmla="*/ 72 w 288"/>
                <a:gd name="T11" fmla="*/ 0 h 254"/>
                <a:gd name="T12" fmla="*/ 288 w 288"/>
                <a:gd name="T13" fmla="*/ 188 h 254"/>
              </a:gdLst>
              <a:ahLst/>
              <a:cxnLst>
                <a:cxn ang="0">
                  <a:pos x="T0" y="T1"/>
                </a:cxn>
                <a:cxn ang="0">
                  <a:pos x="T2" y="T3"/>
                </a:cxn>
                <a:cxn ang="0">
                  <a:pos x="T4" y="T5"/>
                </a:cxn>
                <a:cxn ang="0">
                  <a:pos x="T6" y="T7"/>
                </a:cxn>
                <a:cxn ang="0">
                  <a:pos x="T8" y="T9"/>
                </a:cxn>
                <a:cxn ang="0">
                  <a:pos x="T10" y="T11"/>
                </a:cxn>
                <a:cxn ang="0">
                  <a:pos x="T12" y="T13"/>
                </a:cxn>
              </a:cxnLst>
              <a:rect l="0" t="0" r="r" b="b"/>
              <a:pathLst>
                <a:path w="288" h="254">
                  <a:moveTo>
                    <a:pt x="288" y="188"/>
                  </a:moveTo>
                  <a:lnTo>
                    <a:pt x="283" y="247"/>
                  </a:lnTo>
                  <a:lnTo>
                    <a:pt x="270" y="254"/>
                  </a:lnTo>
                  <a:lnTo>
                    <a:pt x="0" y="17"/>
                  </a:lnTo>
                  <a:lnTo>
                    <a:pt x="0" y="11"/>
                  </a:lnTo>
                  <a:lnTo>
                    <a:pt x="72" y="0"/>
                  </a:lnTo>
                  <a:lnTo>
                    <a:pt x="288" y="188"/>
                  </a:lnTo>
                  <a:close/>
                </a:path>
              </a:pathLst>
            </a:custGeom>
            <a:solidFill>
              <a:srgbClr val="BC2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7">
              <a:extLst>
                <a:ext uri="{FF2B5EF4-FFF2-40B4-BE49-F238E27FC236}">
                  <a16:creationId xmlns:a16="http://schemas.microsoft.com/office/drawing/2014/main" id="{A8E337B6-0300-4898-9572-53589ACAB635}"/>
                </a:ext>
              </a:extLst>
            </p:cNvPr>
            <p:cNvSpPr>
              <a:spLocks/>
            </p:cNvSpPr>
            <p:nvPr/>
          </p:nvSpPr>
          <p:spPr bwMode="auto">
            <a:xfrm>
              <a:off x="4124325" y="4867275"/>
              <a:ext cx="209550" cy="225425"/>
            </a:xfrm>
            <a:custGeom>
              <a:avLst/>
              <a:gdLst>
                <a:gd name="T0" fmla="*/ 17 w 132"/>
                <a:gd name="T1" fmla="*/ 142 h 142"/>
                <a:gd name="T2" fmla="*/ 4 w 132"/>
                <a:gd name="T3" fmla="*/ 135 h 142"/>
                <a:gd name="T4" fmla="*/ 0 w 132"/>
                <a:gd name="T5" fmla="*/ 76 h 142"/>
                <a:gd name="T6" fmla="*/ 86 w 132"/>
                <a:gd name="T7" fmla="*/ 0 h 142"/>
                <a:gd name="T8" fmla="*/ 132 w 132"/>
                <a:gd name="T9" fmla="*/ 41 h 142"/>
                <a:gd name="T10" fmla="*/ 17 w 132"/>
                <a:gd name="T11" fmla="*/ 142 h 142"/>
              </a:gdLst>
              <a:ahLst/>
              <a:cxnLst>
                <a:cxn ang="0">
                  <a:pos x="T0" y="T1"/>
                </a:cxn>
                <a:cxn ang="0">
                  <a:pos x="T2" y="T3"/>
                </a:cxn>
                <a:cxn ang="0">
                  <a:pos x="T4" y="T5"/>
                </a:cxn>
                <a:cxn ang="0">
                  <a:pos x="T6" y="T7"/>
                </a:cxn>
                <a:cxn ang="0">
                  <a:pos x="T8" y="T9"/>
                </a:cxn>
                <a:cxn ang="0">
                  <a:pos x="T10" y="T11"/>
                </a:cxn>
              </a:cxnLst>
              <a:rect l="0" t="0" r="r" b="b"/>
              <a:pathLst>
                <a:path w="132" h="142">
                  <a:moveTo>
                    <a:pt x="17" y="142"/>
                  </a:moveTo>
                  <a:lnTo>
                    <a:pt x="4" y="135"/>
                  </a:lnTo>
                  <a:lnTo>
                    <a:pt x="0" y="76"/>
                  </a:lnTo>
                  <a:lnTo>
                    <a:pt x="86" y="0"/>
                  </a:lnTo>
                  <a:lnTo>
                    <a:pt x="132" y="41"/>
                  </a:lnTo>
                  <a:lnTo>
                    <a:pt x="17" y="142"/>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8">
              <a:extLst>
                <a:ext uri="{FF2B5EF4-FFF2-40B4-BE49-F238E27FC236}">
                  <a16:creationId xmlns:a16="http://schemas.microsoft.com/office/drawing/2014/main" id="{C635D8B7-88FC-44C9-84D5-9B6CC5CB7641}"/>
                </a:ext>
              </a:extLst>
            </p:cNvPr>
            <p:cNvSpPr>
              <a:spLocks/>
            </p:cNvSpPr>
            <p:nvPr/>
          </p:nvSpPr>
          <p:spPr bwMode="auto">
            <a:xfrm>
              <a:off x="4124325" y="4591050"/>
              <a:ext cx="381000" cy="130175"/>
            </a:xfrm>
            <a:custGeom>
              <a:avLst/>
              <a:gdLst>
                <a:gd name="T0" fmla="*/ 143 w 240"/>
                <a:gd name="T1" fmla="*/ 60 h 82"/>
                <a:gd name="T2" fmla="*/ 3 w 240"/>
                <a:gd name="T3" fmla="*/ 82 h 82"/>
                <a:gd name="T4" fmla="*/ 0 w 240"/>
                <a:gd name="T5" fmla="*/ 79 h 82"/>
                <a:gd name="T6" fmla="*/ 4 w 240"/>
                <a:gd name="T7" fmla="*/ 21 h 82"/>
                <a:gd name="T8" fmla="*/ 139 w 240"/>
                <a:gd name="T9" fmla="*/ 0 h 82"/>
                <a:gd name="T10" fmla="*/ 147 w 240"/>
                <a:gd name="T11" fmla="*/ 0 h 82"/>
                <a:gd name="T12" fmla="*/ 240 w 240"/>
                <a:gd name="T13" fmla="*/ 14 h 82"/>
                <a:gd name="T14" fmla="*/ 240 w 240"/>
                <a:gd name="T15" fmla="*/ 76 h 82"/>
                <a:gd name="T16" fmla="*/ 143 w 240"/>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82">
                  <a:moveTo>
                    <a:pt x="143" y="60"/>
                  </a:moveTo>
                  <a:lnTo>
                    <a:pt x="3" y="82"/>
                  </a:lnTo>
                  <a:lnTo>
                    <a:pt x="0" y="79"/>
                  </a:lnTo>
                  <a:lnTo>
                    <a:pt x="4" y="21"/>
                  </a:lnTo>
                  <a:lnTo>
                    <a:pt x="139" y="0"/>
                  </a:lnTo>
                  <a:lnTo>
                    <a:pt x="147" y="0"/>
                  </a:lnTo>
                  <a:lnTo>
                    <a:pt x="240" y="14"/>
                  </a:lnTo>
                  <a:lnTo>
                    <a:pt x="240" y="76"/>
                  </a:lnTo>
                  <a:lnTo>
                    <a:pt x="143" y="60"/>
                  </a:lnTo>
                  <a:close/>
                </a:path>
              </a:pathLst>
            </a:custGeom>
            <a:solidFill>
              <a:srgbClr val="F47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9">
              <a:extLst>
                <a:ext uri="{FF2B5EF4-FFF2-40B4-BE49-F238E27FC236}">
                  <a16:creationId xmlns:a16="http://schemas.microsoft.com/office/drawing/2014/main" id="{A067701C-95D2-463E-8259-6C5EDAD7D210}"/>
                </a:ext>
              </a:extLst>
            </p:cNvPr>
            <p:cNvSpPr>
              <a:spLocks/>
            </p:cNvSpPr>
            <p:nvPr/>
          </p:nvSpPr>
          <p:spPr bwMode="auto">
            <a:xfrm>
              <a:off x="4489450" y="4610100"/>
              <a:ext cx="95250" cy="207962"/>
            </a:xfrm>
            <a:custGeom>
              <a:avLst/>
              <a:gdLst>
                <a:gd name="T0" fmla="*/ 0 w 60"/>
                <a:gd name="T1" fmla="*/ 131 h 131"/>
                <a:gd name="T2" fmla="*/ 0 w 60"/>
                <a:gd name="T3" fmla="*/ 0 h 131"/>
                <a:gd name="T4" fmla="*/ 37 w 60"/>
                <a:gd name="T5" fmla="*/ 6 h 131"/>
                <a:gd name="T6" fmla="*/ 60 w 60"/>
                <a:gd name="T7" fmla="*/ 34 h 131"/>
                <a:gd name="T8" fmla="*/ 60 w 60"/>
                <a:gd name="T9" fmla="*/ 106 h 131"/>
                <a:gd name="T10" fmla="*/ 0 w 60"/>
                <a:gd name="T11" fmla="*/ 131 h 131"/>
              </a:gdLst>
              <a:ahLst/>
              <a:cxnLst>
                <a:cxn ang="0">
                  <a:pos x="T0" y="T1"/>
                </a:cxn>
                <a:cxn ang="0">
                  <a:pos x="T2" y="T3"/>
                </a:cxn>
                <a:cxn ang="0">
                  <a:pos x="T4" y="T5"/>
                </a:cxn>
                <a:cxn ang="0">
                  <a:pos x="T6" y="T7"/>
                </a:cxn>
                <a:cxn ang="0">
                  <a:pos x="T8" y="T9"/>
                </a:cxn>
                <a:cxn ang="0">
                  <a:pos x="T10" y="T11"/>
                </a:cxn>
              </a:cxnLst>
              <a:rect l="0" t="0" r="r" b="b"/>
              <a:pathLst>
                <a:path w="60" h="131">
                  <a:moveTo>
                    <a:pt x="0" y="131"/>
                  </a:moveTo>
                  <a:lnTo>
                    <a:pt x="0" y="0"/>
                  </a:lnTo>
                  <a:lnTo>
                    <a:pt x="37" y="6"/>
                  </a:lnTo>
                  <a:lnTo>
                    <a:pt x="60" y="34"/>
                  </a:lnTo>
                  <a:lnTo>
                    <a:pt x="60" y="106"/>
                  </a:lnTo>
                  <a:lnTo>
                    <a:pt x="0" y="131"/>
                  </a:lnTo>
                  <a:close/>
                </a:path>
              </a:pathLst>
            </a:custGeom>
            <a:solidFill>
              <a:srgbClr val="F9AC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0">
              <a:extLst>
                <a:ext uri="{FF2B5EF4-FFF2-40B4-BE49-F238E27FC236}">
                  <a16:creationId xmlns:a16="http://schemas.microsoft.com/office/drawing/2014/main" id="{CB4BDD23-6E08-4B43-8E99-90B4673801AD}"/>
                </a:ext>
              </a:extLst>
            </p:cNvPr>
            <p:cNvSpPr>
              <a:spLocks/>
            </p:cNvSpPr>
            <p:nvPr/>
          </p:nvSpPr>
          <p:spPr bwMode="auto">
            <a:xfrm>
              <a:off x="4465638" y="4606925"/>
              <a:ext cx="23812" cy="100012"/>
            </a:xfrm>
            <a:custGeom>
              <a:avLst/>
              <a:gdLst>
                <a:gd name="T0" fmla="*/ 0 w 15"/>
                <a:gd name="T1" fmla="*/ 61 h 63"/>
                <a:gd name="T2" fmla="*/ 15 w 15"/>
                <a:gd name="T3" fmla="*/ 63 h 63"/>
                <a:gd name="T4" fmla="*/ 15 w 15"/>
                <a:gd name="T5" fmla="*/ 2 h 63"/>
                <a:gd name="T6" fmla="*/ 0 w 15"/>
                <a:gd name="T7" fmla="*/ 0 h 63"/>
                <a:gd name="T8" fmla="*/ 0 w 15"/>
                <a:gd name="T9" fmla="*/ 61 h 63"/>
              </a:gdLst>
              <a:ahLst/>
              <a:cxnLst>
                <a:cxn ang="0">
                  <a:pos x="T0" y="T1"/>
                </a:cxn>
                <a:cxn ang="0">
                  <a:pos x="T2" y="T3"/>
                </a:cxn>
                <a:cxn ang="0">
                  <a:pos x="T4" y="T5"/>
                </a:cxn>
                <a:cxn ang="0">
                  <a:pos x="T6" y="T7"/>
                </a:cxn>
                <a:cxn ang="0">
                  <a:pos x="T8" y="T9"/>
                </a:cxn>
              </a:cxnLst>
              <a:rect l="0" t="0" r="r" b="b"/>
              <a:pathLst>
                <a:path w="15" h="63">
                  <a:moveTo>
                    <a:pt x="0" y="61"/>
                  </a:moveTo>
                  <a:lnTo>
                    <a:pt x="15" y="63"/>
                  </a:lnTo>
                  <a:lnTo>
                    <a:pt x="15" y="2"/>
                  </a:lnTo>
                  <a:lnTo>
                    <a:pt x="0" y="0"/>
                  </a:lnTo>
                  <a:lnTo>
                    <a:pt x="0" y="61"/>
                  </a:lnTo>
                  <a:close/>
                </a:path>
              </a:pathLst>
            </a:custGeom>
            <a:solidFill>
              <a:srgbClr val="F15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1">
              <a:extLst>
                <a:ext uri="{FF2B5EF4-FFF2-40B4-BE49-F238E27FC236}">
                  <a16:creationId xmlns:a16="http://schemas.microsoft.com/office/drawing/2014/main" id="{93B962FF-B078-4017-958A-E41D73D6ECC2}"/>
                </a:ext>
              </a:extLst>
            </p:cNvPr>
            <p:cNvSpPr>
              <a:spLocks/>
            </p:cNvSpPr>
            <p:nvPr/>
          </p:nvSpPr>
          <p:spPr bwMode="auto">
            <a:xfrm>
              <a:off x="4129088" y="4702175"/>
              <a:ext cx="147637" cy="39687"/>
            </a:xfrm>
            <a:custGeom>
              <a:avLst/>
              <a:gdLst>
                <a:gd name="T0" fmla="*/ 15 w 93"/>
                <a:gd name="T1" fmla="*/ 25 h 25"/>
                <a:gd name="T2" fmla="*/ 93 w 93"/>
                <a:gd name="T3" fmla="*/ 13 h 25"/>
                <a:gd name="T4" fmla="*/ 78 w 93"/>
                <a:gd name="T5" fmla="*/ 0 h 25"/>
                <a:gd name="T6" fmla="*/ 0 w 93"/>
                <a:gd name="T7" fmla="*/ 12 h 25"/>
                <a:gd name="T8" fmla="*/ 15 w 93"/>
                <a:gd name="T9" fmla="*/ 25 h 25"/>
              </a:gdLst>
              <a:ahLst/>
              <a:cxnLst>
                <a:cxn ang="0">
                  <a:pos x="T0" y="T1"/>
                </a:cxn>
                <a:cxn ang="0">
                  <a:pos x="T2" y="T3"/>
                </a:cxn>
                <a:cxn ang="0">
                  <a:pos x="T4" y="T5"/>
                </a:cxn>
                <a:cxn ang="0">
                  <a:pos x="T6" y="T7"/>
                </a:cxn>
                <a:cxn ang="0">
                  <a:pos x="T8" y="T9"/>
                </a:cxn>
              </a:cxnLst>
              <a:rect l="0" t="0" r="r" b="b"/>
              <a:pathLst>
                <a:path w="93" h="25">
                  <a:moveTo>
                    <a:pt x="15" y="25"/>
                  </a:moveTo>
                  <a:lnTo>
                    <a:pt x="93" y="13"/>
                  </a:lnTo>
                  <a:lnTo>
                    <a:pt x="78" y="0"/>
                  </a:lnTo>
                  <a:lnTo>
                    <a:pt x="0" y="12"/>
                  </a:lnTo>
                  <a:lnTo>
                    <a:pt x="15" y="25"/>
                  </a:lnTo>
                  <a:close/>
                </a:path>
              </a:pathLst>
            </a:custGeom>
            <a:solidFill>
              <a:srgbClr val="931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2">
              <a:extLst>
                <a:ext uri="{FF2B5EF4-FFF2-40B4-BE49-F238E27FC236}">
                  <a16:creationId xmlns:a16="http://schemas.microsoft.com/office/drawing/2014/main" id="{A92A557F-18C7-4504-A10A-57479239FF7F}"/>
                </a:ext>
              </a:extLst>
            </p:cNvPr>
            <p:cNvSpPr>
              <a:spLocks/>
            </p:cNvSpPr>
            <p:nvPr/>
          </p:nvSpPr>
          <p:spPr bwMode="auto">
            <a:xfrm>
              <a:off x="4452938" y="5022850"/>
              <a:ext cx="100012" cy="79375"/>
            </a:xfrm>
            <a:custGeom>
              <a:avLst/>
              <a:gdLst>
                <a:gd name="T0" fmla="*/ 63 w 63"/>
                <a:gd name="T1" fmla="*/ 44 h 50"/>
                <a:gd name="T2" fmla="*/ 15 w 63"/>
                <a:gd name="T3" fmla="*/ 0 h 50"/>
                <a:gd name="T4" fmla="*/ 0 w 63"/>
                <a:gd name="T5" fmla="*/ 8 h 50"/>
                <a:gd name="T6" fmla="*/ 49 w 63"/>
                <a:gd name="T7" fmla="*/ 50 h 50"/>
                <a:gd name="T8" fmla="*/ 63 w 63"/>
                <a:gd name="T9" fmla="*/ 44 h 50"/>
              </a:gdLst>
              <a:ahLst/>
              <a:cxnLst>
                <a:cxn ang="0">
                  <a:pos x="T0" y="T1"/>
                </a:cxn>
                <a:cxn ang="0">
                  <a:pos x="T2" y="T3"/>
                </a:cxn>
                <a:cxn ang="0">
                  <a:pos x="T4" y="T5"/>
                </a:cxn>
                <a:cxn ang="0">
                  <a:pos x="T6" y="T7"/>
                </a:cxn>
                <a:cxn ang="0">
                  <a:pos x="T8" y="T9"/>
                </a:cxn>
              </a:cxnLst>
              <a:rect l="0" t="0" r="r" b="b"/>
              <a:pathLst>
                <a:path w="63" h="50">
                  <a:moveTo>
                    <a:pt x="63" y="44"/>
                  </a:moveTo>
                  <a:lnTo>
                    <a:pt x="15" y="0"/>
                  </a:lnTo>
                  <a:lnTo>
                    <a:pt x="0" y="8"/>
                  </a:lnTo>
                  <a:lnTo>
                    <a:pt x="49" y="50"/>
                  </a:lnTo>
                  <a:lnTo>
                    <a:pt x="63"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3">
              <a:extLst>
                <a:ext uri="{FF2B5EF4-FFF2-40B4-BE49-F238E27FC236}">
                  <a16:creationId xmlns:a16="http://schemas.microsoft.com/office/drawing/2014/main" id="{5A9AD15B-71B8-4B0A-8CA2-516C36D7A83C}"/>
                </a:ext>
              </a:extLst>
            </p:cNvPr>
            <p:cNvSpPr>
              <a:spLocks/>
            </p:cNvSpPr>
            <p:nvPr/>
          </p:nvSpPr>
          <p:spPr bwMode="auto">
            <a:xfrm>
              <a:off x="4151313" y="5022850"/>
              <a:ext cx="100012" cy="79375"/>
            </a:xfrm>
            <a:custGeom>
              <a:avLst/>
              <a:gdLst>
                <a:gd name="T0" fmla="*/ 0 w 63"/>
                <a:gd name="T1" fmla="*/ 44 h 50"/>
                <a:gd name="T2" fmla="*/ 14 w 63"/>
                <a:gd name="T3" fmla="*/ 50 h 50"/>
                <a:gd name="T4" fmla="*/ 63 w 63"/>
                <a:gd name="T5" fmla="*/ 8 h 50"/>
                <a:gd name="T6" fmla="*/ 48 w 63"/>
                <a:gd name="T7" fmla="*/ 0 h 50"/>
                <a:gd name="T8" fmla="*/ 0 w 63"/>
                <a:gd name="T9" fmla="*/ 44 h 50"/>
              </a:gdLst>
              <a:ahLst/>
              <a:cxnLst>
                <a:cxn ang="0">
                  <a:pos x="T0" y="T1"/>
                </a:cxn>
                <a:cxn ang="0">
                  <a:pos x="T2" y="T3"/>
                </a:cxn>
                <a:cxn ang="0">
                  <a:pos x="T4" y="T5"/>
                </a:cxn>
                <a:cxn ang="0">
                  <a:pos x="T6" y="T7"/>
                </a:cxn>
                <a:cxn ang="0">
                  <a:pos x="T8" y="T9"/>
                </a:cxn>
              </a:cxnLst>
              <a:rect l="0" t="0" r="r" b="b"/>
              <a:pathLst>
                <a:path w="63" h="50">
                  <a:moveTo>
                    <a:pt x="0" y="44"/>
                  </a:moveTo>
                  <a:lnTo>
                    <a:pt x="14" y="50"/>
                  </a:lnTo>
                  <a:lnTo>
                    <a:pt x="63" y="8"/>
                  </a:lnTo>
                  <a:lnTo>
                    <a:pt x="48" y="0"/>
                  </a:lnTo>
                  <a:lnTo>
                    <a:pt x="0" y="44"/>
                  </a:lnTo>
                  <a:close/>
                </a:path>
              </a:pathLst>
            </a:custGeom>
            <a:solidFill>
              <a:srgbClr val="D025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40930950"/>
      </p:ext>
    </p:extLst>
  </p:cSld>
  <p:clrMap bg1="lt1" tx1="dk1" bg2="lt2" tx2="dk2" accent1="accent1" accent2="accent2" accent3="accent3" accent4="accent4" accent5="accent5" accent6="accent6" hlink="hlink" folHlink="folHlink"/>
  <p:sldLayoutIdLst>
    <p:sldLayoutId id="2147484485" r:id="rId1"/>
    <p:sldLayoutId id="2147484524" r:id="rId2"/>
    <p:sldLayoutId id="2147484526" r:id="rId3"/>
    <p:sldLayoutId id="2147484493" r:id="rId4"/>
    <p:sldLayoutId id="2147484486" r:id="rId5"/>
    <p:sldLayoutId id="2147484487" r:id="rId6"/>
    <p:sldLayoutId id="2147484488" r:id="rId7"/>
    <p:sldLayoutId id="2147484489" r:id="rId8"/>
    <p:sldLayoutId id="2147484490" r:id="rId9"/>
    <p:sldLayoutId id="2147484491" r:id="rId10"/>
    <p:sldLayoutId id="2147484492" r:id="rId11"/>
    <p:sldLayoutId id="2147484495" r:id="rId12"/>
    <p:sldLayoutId id="2147484496" r:id="rId13"/>
    <p:sldLayoutId id="2147484498" r:id="rId14"/>
    <p:sldLayoutId id="2147484499" r:id="rId15"/>
    <p:sldLayoutId id="2147484500" r:id="rId16"/>
    <p:sldLayoutId id="2147484501" r:id="rId17"/>
    <p:sldLayoutId id="2147484502" r:id="rId18"/>
    <p:sldLayoutId id="2147484503" r:id="rId19"/>
    <p:sldLayoutId id="2147484504" r:id="rId20"/>
    <p:sldLayoutId id="2147484505" r:id="rId21"/>
    <p:sldLayoutId id="2147484506" r:id="rId22"/>
    <p:sldLayoutId id="2147484507" r:id="rId23"/>
    <p:sldLayoutId id="2147484511" r:id="rId24"/>
    <p:sldLayoutId id="2147484512" r:id="rId25"/>
    <p:sldLayoutId id="2147484513" r:id="rId26"/>
    <p:sldLayoutId id="2147484514" r:id="rId27"/>
    <p:sldLayoutId id="2147484518" r:id="rId28"/>
    <p:sldLayoutId id="2147484516" r:id="rId29"/>
    <p:sldLayoutId id="2147484517" r:id="rId30"/>
    <p:sldLayoutId id="2147484520" r:id="rId31"/>
    <p:sldLayoutId id="2147484525" r:id="rId32"/>
    <p:sldLayoutId id="2147484527" r:id="rId33"/>
  </p:sldLayoutIdLst>
  <p:hf hdr="0" ftr="0" dt="0"/>
  <p:txStyles>
    <p:titleStyle>
      <a:lvl1pPr algn="l" defTabSz="914400" rtl="0" eaLnBrk="1" latinLnBrk="0" hangingPunct="1">
        <a:lnSpc>
          <a:spcPct val="90000"/>
        </a:lnSpc>
        <a:spcBef>
          <a:spcPct val="0"/>
        </a:spcBef>
        <a:buNone/>
        <a:defRPr sz="2800" b="1" kern="1200" cap="all" baseline="0">
          <a:solidFill>
            <a:schemeClr val="tx1">
              <a:lumMod val="75000"/>
              <a:lumOff val="25000"/>
            </a:schemeClr>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2160">
          <p15:clr>
            <a:srgbClr val="F26B43"/>
          </p15:clr>
        </p15:guide>
        <p15:guide id="14" pos="3840">
          <p15:clr>
            <a:srgbClr val="F26B43"/>
          </p15:clr>
        </p15:guide>
        <p15:guide id="15" pos="279">
          <p15:clr>
            <a:srgbClr val="F26B43"/>
          </p15:clr>
        </p15:guide>
        <p15:guide id="16" pos="7401">
          <p15:clr>
            <a:srgbClr val="F26B43"/>
          </p15:clr>
        </p15:guide>
        <p15:guide id="17" orient="horz" pos="3974">
          <p15:clr>
            <a:srgbClr val="F26B43"/>
          </p15:clr>
        </p15:guide>
        <p15:guide id="18" orient="horz" pos="84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B58D5-BE9C-401E-B5B5-0B12A032ACD2}"/>
              </a:ext>
            </a:extLst>
          </p:cNvPr>
          <p:cNvSpPr>
            <a:spLocks noGrp="1"/>
          </p:cNvSpPr>
          <p:nvPr>
            <p:ph type="title"/>
          </p:nvPr>
        </p:nvSpPr>
        <p:spPr>
          <a:xfrm>
            <a:off x="6253390" y="2388689"/>
            <a:ext cx="5938609" cy="1089528"/>
          </a:xfrm>
        </p:spPr>
        <p:txBody>
          <a:bodyPr/>
          <a:lstStyle/>
          <a:p>
            <a:r>
              <a:rPr lang="en-US" sz="3200" dirty="0"/>
              <a:t>D1.3 | Section 3.2 Transversal activities</a:t>
            </a:r>
          </a:p>
        </p:txBody>
      </p:sp>
      <p:sp>
        <p:nvSpPr>
          <p:cNvPr id="3" name="Text Placeholder 2">
            <a:extLst>
              <a:ext uri="{FF2B5EF4-FFF2-40B4-BE49-F238E27FC236}">
                <a16:creationId xmlns:a16="http://schemas.microsoft.com/office/drawing/2014/main" id="{08915CB2-768C-47BB-B816-3AA0238D6D51}"/>
              </a:ext>
            </a:extLst>
          </p:cNvPr>
          <p:cNvSpPr>
            <a:spLocks noGrp="1"/>
          </p:cNvSpPr>
          <p:nvPr>
            <p:ph type="body" sz="quarter" idx="10"/>
          </p:nvPr>
        </p:nvSpPr>
        <p:spPr>
          <a:xfrm>
            <a:off x="6253389" y="3551159"/>
            <a:ext cx="5880458" cy="817358"/>
          </a:xfrm>
        </p:spPr>
        <p:txBody>
          <a:bodyPr>
            <a:normAutofit fontScale="85000" lnSpcReduction="10000"/>
          </a:bodyPr>
          <a:lstStyle/>
          <a:p>
            <a:r>
              <a:rPr lang="en-US" dirty="0"/>
              <a:t>Task 1.3 - Adaptation, synchronization, progress measurement, and improvement for governance of community and exploitation activities</a:t>
            </a:r>
          </a:p>
          <a:p>
            <a:r>
              <a:rPr lang="en-US" dirty="0"/>
              <a:t>(M01-M36; Task Lead: INOV)</a:t>
            </a:r>
            <a:endParaRPr lang="sr-Latn-RS" dirty="0"/>
          </a:p>
        </p:txBody>
      </p:sp>
      <p:sp>
        <p:nvSpPr>
          <p:cNvPr id="16" name="Text Placeholder 15">
            <a:extLst>
              <a:ext uri="{FF2B5EF4-FFF2-40B4-BE49-F238E27FC236}">
                <a16:creationId xmlns:a16="http://schemas.microsoft.com/office/drawing/2014/main" id="{9523A11A-5DF0-4C37-A7B9-8FF136008542}"/>
              </a:ext>
            </a:extLst>
          </p:cNvPr>
          <p:cNvSpPr>
            <a:spLocks noGrp="1"/>
          </p:cNvSpPr>
          <p:nvPr>
            <p:ph type="body" sz="quarter" idx="12"/>
          </p:nvPr>
        </p:nvSpPr>
        <p:spPr>
          <a:xfrm>
            <a:off x="6253389" y="4729243"/>
            <a:ext cx="5617033" cy="1898673"/>
          </a:xfrm>
        </p:spPr>
        <p:txBody>
          <a:bodyPr>
            <a:normAutofit/>
          </a:bodyPr>
          <a:lstStyle/>
          <a:p>
            <a:r>
              <a:rPr lang="en-US" b="1" dirty="0">
                <a:solidFill>
                  <a:schemeClr val="accent1"/>
                </a:solidFill>
              </a:rPr>
              <a:t>Gonçalo Cadete (INOV)</a:t>
            </a:r>
          </a:p>
          <a:p>
            <a:r>
              <a:rPr lang="en-US" dirty="0"/>
              <a:t>December 1</a:t>
            </a:r>
            <a:r>
              <a:rPr lang="en-US" baseline="30000" dirty="0"/>
              <a:t>st</a:t>
            </a:r>
            <a:r>
              <a:rPr lang="en-US" dirty="0"/>
              <a:t>,2020</a:t>
            </a:r>
            <a:endParaRPr lang="sr-Latn-RS" dirty="0"/>
          </a:p>
        </p:txBody>
      </p:sp>
    </p:spTree>
    <p:extLst>
      <p:ext uri="{BB962C8B-B14F-4D97-AF65-F5344CB8AC3E}">
        <p14:creationId xmlns:p14="http://schemas.microsoft.com/office/powerpoint/2010/main" val="13766878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C9E12E-B644-483D-91C0-391C4A70895D}"/>
              </a:ext>
            </a:extLst>
          </p:cNvPr>
          <p:cNvSpPr>
            <a:spLocks noGrp="1"/>
          </p:cNvSpPr>
          <p:nvPr>
            <p:ph type="title"/>
          </p:nvPr>
        </p:nvSpPr>
        <p:spPr/>
        <p:txBody>
          <a:bodyPr/>
          <a:lstStyle/>
          <a:p>
            <a:r>
              <a:rPr lang="en-US" dirty="0"/>
              <a:t>D1.3 Improving a CCN pilot</a:t>
            </a:r>
            <a:br>
              <a:rPr lang="en-US" dirty="0"/>
            </a:br>
            <a:r>
              <a:rPr lang="en-US" dirty="0">
                <a:solidFill>
                  <a:schemeClr val="accent1"/>
                </a:solidFill>
              </a:rPr>
              <a:t>3.2 Transversal activities</a:t>
            </a:r>
            <a:br>
              <a:rPr lang="en-US" dirty="0">
                <a:solidFill>
                  <a:schemeClr val="accent1"/>
                </a:solidFill>
              </a:rPr>
            </a:br>
            <a:endParaRPr lang="en-US" dirty="0">
              <a:solidFill>
                <a:schemeClr val="accent1"/>
              </a:solidFill>
            </a:endParaRPr>
          </a:p>
        </p:txBody>
      </p:sp>
      <p:sp>
        <p:nvSpPr>
          <p:cNvPr id="16" name="Content Placeholder 4">
            <a:extLst>
              <a:ext uri="{FF2B5EF4-FFF2-40B4-BE49-F238E27FC236}">
                <a16:creationId xmlns:a16="http://schemas.microsoft.com/office/drawing/2014/main" id="{91BEEB64-9327-4F4C-BAA0-3A53ADC179D5}"/>
              </a:ext>
            </a:extLst>
          </p:cNvPr>
          <p:cNvSpPr txBox="1">
            <a:spLocks/>
          </p:cNvSpPr>
          <p:nvPr/>
        </p:nvSpPr>
        <p:spPr>
          <a:xfrm>
            <a:off x="578840" y="1442904"/>
            <a:ext cx="9667130" cy="4926617"/>
          </a:xfrm>
          <a:prstGeom prst="rect">
            <a:avLst/>
          </a:prstGeom>
        </p:spPr>
        <p:txBody>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u="sng" dirty="0" err="1"/>
              <a:t>ToC</a:t>
            </a:r>
            <a:r>
              <a:rPr lang="en-US" sz="2400" b="1" u="sng" dirty="0"/>
              <a:t> for D1.3 </a:t>
            </a:r>
          </a:p>
          <a:p>
            <a:pPr lvl="1"/>
            <a:endParaRPr lang="en-US" dirty="0"/>
          </a:p>
          <a:p>
            <a:pPr lvl="1"/>
            <a:r>
              <a:rPr lang="en-US" dirty="0"/>
              <a:t>Executive summary (CEA)</a:t>
            </a:r>
          </a:p>
          <a:p>
            <a:pPr lvl="1"/>
            <a:r>
              <a:rPr lang="en-US" dirty="0"/>
              <a:t>1. Introduction (Fraunhofer, </a:t>
            </a:r>
            <a:r>
              <a:rPr lang="en-US" dirty="0" err="1"/>
              <a:t>contribs</a:t>
            </a:r>
            <a:r>
              <a:rPr lang="en-US" dirty="0"/>
              <a:t> CEA)</a:t>
            </a:r>
          </a:p>
          <a:p>
            <a:pPr lvl="1"/>
            <a:r>
              <a:rPr lang="en-US" dirty="0"/>
              <a:t>2. Internal and external recommendations (Fraunhofer, </a:t>
            </a:r>
            <a:r>
              <a:rPr lang="en-US" dirty="0" err="1"/>
              <a:t>contribs</a:t>
            </a:r>
            <a:r>
              <a:rPr lang="en-US" dirty="0"/>
              <a:t> CEA)</a:t>
            </a:r>
          </a:p>
          <a:p>
            <a:pPr lvl="1"/>
            <a:r>
              <a:rPr lang="en-US" b="1" u="sng" dirty="0"/>
              <a:t>3. Modular governance framework</a:t>
            </a:r>
          </a:p>
          <a:p>
            <a:pPr lvl="2"/>
            <a:r>
              <a:rPr lang="en-US" dirty="0"/>
              <a:t>1. CCN structure (T1.1, CEA)</a:t>
            </a:r>
          </a:p>
          <a:p>
            <a:pPr lvl="2"/>
            <a:endParaRPr lang="en-US" dirty="0"/>
          </a:p>
          <a:p>
            <a:pPr lvl="2"/>
            <a:r>
              <a:rPr lang="en-US" b="1" dirty="0"/>
              <a:t>2. Transversal activities (T1.3, INOV, </a:t>
            </a:r>
            <a:r>
              <a:rPr lang="en-US" b="1" dirty="0" err="1"/>
              <a:t>contribs</a:t>
            </a:r>
            <a:r>
              <a:rPr lang="en-US" b="1" dirty="0"/>
              <a:t> all relevant)</a:t>
            </a:r>
          </a:p>
          <a:p>
            <a:pPr lvl="3"/>
            <a:r>
              <a:rPr lang="en-US" b="1" dirty="0"/>
              <a:t>1. Partnership instrument</a:t>
            </a:r>
          </a:p>
          <a:p>
            <a:pPr lvl="3"/>
            <a:r>
              <a:rPr lang="en-US" b="1" dirty="0"/>
              <a:t>2. Enablers (= all other transversal activities)</a:t>
            </a:r>
            <a:endParaRPr lang="en-US" dirty="0"/>
          </a:p>
          <a:p>
            <a:pPr lvl="2"/>
            <a:endParaRPr lang="en-US" dirty="0"/>
          </a:p>
          <a:p>
            <a:pPr lvl="2"/>
            <a:r>
              <a:rPr lang="en-US" dirty="0"/>
              <a:t>3. Scientific &amp; technical activities (T1.2, L3CE, </a:t>
            </a:r>
            <a:r>
              <a:rPr lang="en-US" dirty="0" err="1"/>
              <a:t>contribs</a:t>
            </a:r>
            <a:r>
              <a:rPr lang="en-US" dirty="0"/>
              <a:t> all relevant)</a:t>
            </a:r>
          </a:p>
          <a:p>
            <a:pPr lvl="1"/>
            <a:r>
              <a:rPr lang="en-US" dirty="0"/>
              <a:t>4. Lessons learnt (CEA, </a:t>
            </a:r>
            <a:r>
              <a:rPr lang="en-US" dirty="0" err="1"/>
              <a:t>contribs</a:t>
            </a:r>
            <a:r>
              <a:rPr lang="en-US" dirty="0"/>
              <a:t> Fraunhofer)</a:t>
            </a:r>
          </a:p>
          <a:p>
            <a:pPr lvl="1"/>
            <a:r>
              <a:rPr lang="en-US" dirty="0"/>
              <a:t>5. Conclusion and perspectives (CEA, </a:t>
            </a:r>
            <a:r>
              <a:rPr lang="en-US" dirty="0" err="1"/>
              <a:t>contribs</a:t>
            </a:r>
            <a:r>
              <a:rPr lang="en-US" dirty="0"/>
              <a:t> Fraunhofer)</a:t>
            </a:r>
          </a:p>
          <a:p>
            <a:pPr marL="756000" lvl="3" indent="0">
              <a:buNone/>
            </a:pPr>
            <a:endParaRPr lang="en-US" dirty="0"/>
          </a:p>
          <a:p>
            <a:pPr marL="0" indent="0">
              <a:buNone/>
            </a:pPr>
            <a:endParaRPr lang="en-US" dirty="0"/>
          </a:p>
        </p:txBody>
      </p:sp>
      <p:sp>
        <p:nvSpPr>
          <p:cNvPr id="2" name="Rectangle: Rounded Corners 1">
            <a:extLst>
              <a:ext uri="{FF2B5EF4-FFF2-40B4-BE49-F238E27FC236}">
                <a16:creationId xmlns:a16="http://schemas.microsoft.com/office/drawing/2014/main" id="{0DE74F69-AE46-4271-9CE6-BBF2642580E6}"/>
              </a:ext>
            </a:extLst>
          </p:cNvPr>
          <p:cNvSpPr/>
          <p:nvPr/>
        </p:nvSpPr>
        <p:spPr>
          <a:xfrm>
            <a:off x="1082843" y="3967582"/>
            <a:ext cx="6809873" cy="1030705"/>
          </a:xfrm>
          <a:prstGeom prst="roundRect">
            <a:avLst/>
          </a:prstGeom>
          <a:solidFill>
            <a:srgbClr val="92D050">
              <a:alpha val="20000"/>
            </a:srgbClr>
          </a:solidFill>
          <a:ln w="381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B874CDF0-D1BA-49FA-8EAB-09A929B2C677}"/>
              </a:ext>
            </a:extLst>
          </p:cNvPr>
          <p:cNvSpPr txBox="1"/>
          <p:nvPr/>
        </p:nvSpPr>
        <p:spPr>
          <a:xfrm>
            <a:off x="6708440" y="3586942"/>
            <a:ext cx="1247274" cy="1200329"/>
          </a:xfrm>
          <a:prstGeom prst="rect">
            <a:avLst/>
          </a:prstGeom>
          <a:noFill/>
        </p:spPr>
        <p:txBody>
          <a:bodyPr wrap="square">
            <a:spAutoFit/>
          </a:bodyPr>
          <a:lstStyle/>
          <a:p>
            <a:r>
              <a:rPr lang="en-US" sz="7200" b="1" dirty="0">
                <a:solidFill>
                  <a:srgbClr val="00B050"/>
                </a:solidFill>
                <a:sym typeface="Wingdings" panose="05000000000000000000" pitchFamily="2" charset="2"/>
              </a:rPr>
              <a:t></a:t>
            </a:r>
            <a:endParaRPr lang="en-GB" sz="7200" dirty="0">
              <a:solidFill>
                <a:srgbClr val="00B050"/>
              </a:solidFill>
            </a:endParaRPr>
          </a:p>
        </p:txBody>
      </p:sp>
    </p:spTree>
    <p:extLst>
      <p:ext uri="{BB962C8B-B14F-4D97-AF65-F5344CB8AC3E}">
        <p14:creationId xmlns:p14="http://schemas.microsoft.com/office/powerpoint/2010/main" val="3570610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C9E12E-B644-483D-91C0-391C4A70895D}"/>
              </a:ext>
            </a:extLst>
          </p:cNvPr>
          <p:cNvSpPr>
            <a:spLocks noGrp="1"/>
          </p:cNvSpPr>
          <p:nvPr>
            <p:ph type="title"/>
          </p:nvPr>
        </p:nvSpPr>
        <p:spPr/>
        <p:txBody>
          <a:bodyPr/>
          <a:lstStyle/>
          <a:p>
            <a:r>
              <a:rPr lang="en-US" dirty="0"/>
              <a:t>D1.3 Improving a CCN pilot</a:t>
            </a:r>
            <a:br>
              <a:rPr lang="en-US" dirty="0"/>
            </a:br>
            <a:r>
              <a:rPr lang="en-US" dirty="0">
                <a:solidFill>
                  <a:schemeClr val="accent1"/>
                </a:solidFill>
              </a:rPr>
              <a:t>3.2 Transversal activities</a:t>
            </a:r>
            <a:br>
              <a:rPr lang="en-US" dirty="0">
                <a:solidFill>
                  <a:schemeClr val="accent1"/>
                </a:solidFill>
              </a:rPr>
            </a:br>
            <a:endParaRPr lang="en-US" dirty="0">
              <a:solidFill>
                <a:schemeClr val="accent1"/>
              </a:solidFill>
            </a:endParaRPr>
          </a:p>
        </p:txBody>
      </p:sp>
      <p:sp>
        <p:nvSpPr>
          <p:cNvPr id="16" name="Content Placeholder 4">
            <a:extLst>
              <a:ext uri="{FF2B5EF4-FFF2-40B4-BE49-F238E27FC236}">
                <a16:creationId xmlns:a16="http://schemas.microsoft.com/office/drawing/2014/main" id="{91BEEB64-9327-4F4C-BAA0-3A53ADC179D5}"/>
              </a:ext>
            </a:extLst>
          </p:cNvPr>
          <p:cNvSpPr txBox="1">
            <a:spLocks/>
          </p:cNvSpPr>
          <p:nvPr/>
        </p:nvSpPr>
        <p:spPr>
          <a:xfrm>
            <a:off x="578840" y="1442904"/>
            <a:ext cx="10089160" cy="4926617"/>
          </a:xfrm>
          <a:prstGeom prst="rect">
            <a:avLst/>
          </a:prstGeom>
        </p:spPr>
        <p:txBody>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b="1" cap="all" dirty="0">
                <a:solidFill>
                  <a:schemeClr val="tx1">
                    <a:lumMod val="75000"/>
                    <a:lumOff val="25000"/>
                  </a:schemeClr>
                </a:solidFill>
                <a:latin typeface="+mj-lt"/>
                <a:ea typeface="+mj-ea"/>
                <a:cs typeface="+mj-cs"/>
              </a:rPr>
              <a:t>Scope</a:t>
            </a:r>
            <a:r>
              <a:rPr lang="en-US" dirty="0"/>
              <a:t>: </a:t>
            </a:r>
          </a:p>
          <a:p>
            <a:pPr lvl="1"/>
            <a:r>
              <a:rPr lang="en-US" dirty="0"/>
              <a:t>This deliverable (</a:t>
            </a:r>
            <a:r>
              <a:rPr lang="en-US" dirty="0" err="1"/>
              <a:t>i</a:t>
            </a:r>
            <a:r>
              <a:rPr lang="en-US" dirty="0"/>
              <a:t>) reports how </a:t>
            </a:r>
            <a:r>
              <a:rPr lang="en-US" b="1" u="sng" dirty="0"/>
              <a:t>internal recommendations have been implemented </a:t>
            </a:r>
            <a:r>
              <a:rPr lang="en-US" dirty="0"/>
              <a:t>and (ii) how SPARTA activities have improved in consequence.</a:t>
            </a:r>
          </a:p>
          <a:p>
            <a:pPr lvl="2"/>
            <a:r>
              <a:rPr lang="en-US" b="1" dirty="0"/>
              <a:t>WP8</a:t>
            </a:r>
            <a:r>
              <a:rPr lang="en-US" dirty="0"/>
              <a:t> Clustering, platforms, and ecosystems activities	(</a:t>
            </a:r>
            <a:r>
              <a:rPr lang="en-US" b="1" dirty="0"/>
              <a:t>CNR</a:t>
            </a:r>
            <a:r>
              <a:rPr lang="en-US" dirty="0"/>
              <a:t>, Fabio)</a:t>
            </a:r>
          </a:p>
          <a:p>
            <a:pPr lvl="2"/>
            <a:r>
              <a:rPr lang="en-US" b="1" dirty="0"/>
              <a:t>WP9</a:t>
            </a:r>
            <a:r>
              <a:rPr lang="en-US" dirty="0"/>
              <a:t> Cybersecurity training and awareness		(</a:t>
            </a:r>
            <a:r>
              <a:rPr lang="en-US" b="1" dirty="0"/>
              <a:t>BUT</a:t>
            </a:r>
            <a:r>
              <a:rPr lang="en-US" dirty="0"/>
              <a:t>, Jan)</a:t>
            </a:r>
          </a:p>
          <a:p>
            <a:pPr lvl="2"/>
            <a:r>
              <a:rPr lang="en-US" b="1" dirty="0"/>
              <a:t>WP10</a:t>
            </a:r>
            <a:r>
              <a:rPr lang="en-US" dirty="0"/>
              <a:t> Sustainable exploitation and IPR 		(</a:t>
            </a:r>
            <a:r>
              <a:rPr lang="en-US" b="1" dirty="0"/>
              <a:t>SMILE</a:t>
            </a:r>
            <a:r>
              <a:rPr lang="en-US" dirty="0"/>
              <a:t>, Pascal)</a:t>
            </a:r>
          </a:p>
          <a:p>
            <a:pPr lvl="2"/>
            <a:r>
              <a:rPr lang="en-US" b="1" dirty="0"/>
              <a:t>WP11</a:t>
            </a:r>
            <a:r>
              <a:rPr lang="en-US" dirty="0"/>
              <a:t> Certification organization and support 		(</a:t>
            </a:r>
            <a:r>
              <a:rPr lang="en-US" b="1" dirty="0"/>
              <a:t>CETIC</a:t>
            </a:r>
            <a:r>
              <a:rPr lang="en-US" dirty="0"/>
              <a:t>, Philippe)</a:t>
            </a:r>
          </a:p>
          <a:p>
            <a:pPr lvl="2"/>
            <a:r>
              <a:rPr lang="en-US" b="1" dirty="0"/>
              <a:t>WP12 </a:t>
            </a:r>
            <a:r>
              <a:rPr lang="en-US" dirty="0"/>
              <a:t>Dissemination and communication 		(</a:t>
            </a:r>
            <a:r>
              <a:rPr lang="en-US" b="1" dirty="0"/>
              <a:t>INOV</a:t>
            </a:r>
            <a:r>
              <a:rPr lang="en-US" dirty="0"/>
              <a:t>, Nelson)</a:t>
            </a:r>
          </a:p>
          <a:p>
            <a:pPr marL="0" indent="0">
              <a:buNone/>
            </a:pPr>
            <a:endParaRPr lang="en-US" dirty="0"/>
          </a:p>
        </p:txBody>
      </p:sp>
      <p:pic>
        <p:nvPicPr>
          <p:cNvPr id="5" name="Picture 4">
            <a:extLst>
              <a:ext uri="{FF2B5EF4-FFF2-40B4-BE49-F238E27FC236}">
                <a16:creationId xmlns:a16="http://schemas.microsoft.com/office/drawing/2014/main" id="{7D2E2237-8639-4C22-A90B-28335F62B041}"/>
              </a:ext>
            </a:extLst>
          </p:cNvPr>
          <p:cNvPicPr>
            <a:picLocks noChangeAspect="1"/>
          </p:cNvPicPr>
          <p:nvPr/>
        </p:nvPicPr>
        <p:blipFill rotWithShape="1">
          <a:blip r:embed="rId2"/>
          <a:srcRect l="28816" t="10352" r="40197" b="64754"/>
          <a:stretch/>
        </p:blipFill>
        <p:spPr>
          <a:xfrm>
            <a:off x="2807794" y="4240504"/>
            <a:ext cx="5631252" cy="2462261"/>
          </a:xfrm>
          <a:prstGeom prst="rect">
            <a:avLst/>
          </a:prstGeom>
          <a:ln w="31750">
            <a:solidFill>
              <a:schemeClr val="accent1"/>
            </a:solidFill>
          </a:ln>
        </p:spPr>
      </p:pic>
      <p:sp>
        <p:nvSpPr>
          <p:cNvPr id="7" name="Right Brace 6">
            <a:extLst>
              <a:ext uri="{FF2B5EF4-FFF2-40B4-BE49-F238E27FC236}">
                <a16:creationId xmlns:a16="http://schemas.microsoft.com/office/drawing/2014/main" id="{D198DCC9-10AF-45EB-9861-2E74580D8449}"/>
              </a:ext>
            </a:extLst>
          </p:cNvPr>
          <p:cNvSpPr/>
          <p:nvPr/>
        </p:nvSpPr>
        <p:spPr>
          <a:xfrm>
            <a:off x="7530353" y="2873188"/>
            <a:ext cx="179291" cy="1111623"/>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Right Brace 8">
            <a:extLst>
              <a:ext uri="{FF2B5EF4-FFF2-40B4-BE49-F238E27FC236}">
                <a16:creationId xmlns:a16="http://schemas.microsoft.com/office/drawing/2014/main" id="{39D627C4-EA0A-425E-892C-FD750B2A8F7E}"/>
              </a:ext>
            </a:extLst>
          </p:cNvPr>
          <p:cNvSpPr/>
          <p:nvPr/>
        </p:nvSpPr>
        <p:spPr>
          <a:xfrm>
            <a:off x="7530352" y="2490819"/>
            <a:ext cx="179291" cy="333211"/>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E16700E8-9353-4CF6-B490-C6F05CF4330A}"/>
              </a:ext>
            </a:extLst>
          </p:cNvPr>
          <p:cNvSpPr txBox="1"/>
          <p:nvPr/>
        </p:nvSpPr>
        <p:spPr>
          <a:xfrm>
            <a:off x="7947212" y="2454698"/>
            <a:ext cx="2926976" cy="369332"/>
          </a:xfrm>
          <a:prstGeom prst="rect">
            <a:avLst/>
          </a:prstGeom>
          <a:noFill/>
        </p:spPr>
        <p:txBody>
          <a:bodyPr wrap="square">
            <a:spAutoFit/>
          </a:bodyPr>
          <a:lstStyle/>
          <a:p>
            <a:r>
              <a:rPr lang="en-US" b="1" u="sng" dirty="0"/>
              <a:t>Partnership instrument</a:t>
            </a:r>
            <a:endParaRPr lang="en-GB" dirty="0"/>
          </a:p>
        </p:txBody>
      </p:sp>
      <p:sp>
        <p:nvSpPr>
          <p:cNvPr id="12" name="TextBox 11">
            <a:extLst>
              <a:ext uri="{FF2B5EF4-FFF2-40B4-BE49-F238E27FC236}">
                <a16:creationId xmlns:a16="http://schemas.microsoft.com/office/drawing/2014/main" id="{3D747B40-41CE-43EF-B30C-9EED60B97CD1}"/>
              </a:ext>
            </a:extLst>
          </p:cNvPr>
          <p:cNvSpPr txBox="1"/>
          <p:nvPr/>
        </p:nvSpPr>
        <p:spPr>
          <a:xfrm>
            <a:off x="7947212" y="3209068"/>
            <a:ext cx="2926976" cy="369332"/>
          </a:xfrm>
          <a:prstGeom prst="rect">
            <a:avLst/>
          </a:prstGeom>
          <a:noFill/>
        </p:spPr>
        <p:txBody>
          <a:bodyPr wrap="square">
            <a:spAutoFit/>
          </a:bodyPr>
          <a:lstStyle/>
          <a:p>
            <a:r>
              <a:rPr lang="en-US" b="1" u="sng" dirty="0"/>
              <a:t>Enablers</a:t>
            </a:r>
            <a:endParaRPr lang="en-GB" dirty="0"/>
          </a:p>
        </p:txBody>
      </p:sp>
      <p:sp>
        <p:nvSpPr>
          <p:cNvPr id="13" name="Freeform: Shape 12">
            <a:extLst>
              <a:ext uri="{FF2B5EF4-FFF2-40B4-BE49-F238E27FC236}">
                <a16:creationId xmlns:a16="http://schemas.microsoft.com/office/drawing/2014/main" id="{E73FE964-9788-497D-A4D0-397B86C68CDD}"/>
              </a:ext>
            </a:extLst>
          </p:cNvPr>
          <p:cNvSpPr>
            <a:spLocks noChangeAspect="1"/>
          </p:cNvSpPr>
          <p:nvPr/>
        </p:nvSpPr>
        <p:spPr>
          <a:xfrm>
            <a:off x="9488665" y="4563531"/>
            <a:ext cx="624000" cy="624000"/>
          </a:xfrm>
          <a:custGeom>
            <a:avLst/>
            <a:gdLst>
              <a:gd name="connsiteX0" fmla="*/ 4041934 w 4581525"/>
              <a:gd name="connsiteY0" fmla="*/ 821531 h 4581525"/>
              <a:gd name="connsiteX1" fmla="*/ 3889534 w 4581525"/>
              <a:gd name="connsiteY1" fmla="*/ 364331 h 4581525"/>
              <a:gd name="connsiteX2" fmla="*/ 3793331 w 4581525"/>
              <a:gd name="connsiteY2" fmla="*/ 315754 h 4581525"/>
              <a:gd name="connsiteX3" fmla="*/ 3782854 w 4581525"/>
              <a:gd name="connsiteY3" fmla="*/ 320516 h 4581525"/>
              <a:gd name="connsiteX4" fmla="*/ 3325654 w 4581525"/>
              <a:gd name="connsiteY4" fmla="*/ 549116 h 4581525"/>
              <a:gd name="connsiteX5" fmla="*/ 3291364 w 4581525"/>
              <a:gd name="connsiteY5" fmla="*/ 651034 h 4581525"/>
              <a:gd name="connsiteX6" fmla="*/ 3393281 w 4581525"/>
              <a:gd name="connsiteY6" fmla="*/ 685324 h 4581525"/>
              <a:gd name="connsiteX7" fmla="*/ 3641884 w 4581525"/>
              <a:gd name="connsiteY7" fmla="*/ 560546 h 4581525"/>
              <a:gd name="connsiteX8" fmla="*/ 540544 w 4581525"/>
              <a:gd name="connsiteY8" fmla="*/ 2521744 h 4581525"/>
              <a:gd name="connsiteX9" fmla="*/ 540544 w 4581525"/>
              <a:gd name="connsiteY9" fmla="*/ 2674144 h 4581525"/>
              <a:gd name="connsiteX10" fmla="*/ 3802856 w 4581525"/>
              <a:gd name="connsiteY10" fmla="*/ 585311 h 4581525"/>
              <a:gd name="connsiteX11" fmla="*/ 3897154 w 4581525"/>
              <a:gd name="connsiteY11" fmla="*/ 869156 h 4581525"/>
              <a:gd name="connsiteX12" fmla="*/ 3993356 w 4581525"/>
              <a:gd name="connsiteY12" fmla="*/ 917734 h 4581525"/>
              <a:gd name="connsiteX13" fmla="*/ 4041934 w 4581525"/>
              <a:gd name="connsiteY13" fmla="*/ 821531 h 4581525"/>
              <a:gd name="connsiteX14" fmla="*/ 4502944 w 4581525"/>
              <a:gd name="connsiteY14" fmla="*/ 7144 h 4581525"/>
              <a:gd name="connsiteX15" fmla="*/ 83344 w 4581525"/>
              <a:gd name="connsiteY15" fmla="*/ 7144 h 4581525"/>
              <a:gd name="connsiteX16" fmla="*/ 7144 w 4581525"/>
              <a:gd name="connsiteY16" fmla="*/ 83344 h 4581525"/>
              <a:gd name="connsiteX17" fmla="*/ 7144 w 4581525"/>
              <a:gd name="connsiteY17" fmla="*/ 3512344 h 4581525"/>
              <a:gd name="connsiteX18" fmla="*/ 83344 w 4581525"/>
              <a:gd name="connsiteY18" fmla="*/ 3588544 h 4581525"/>
              <a:gd name="connsiteX19" fmla="*/ 1428274 w 4581525"/>
              <a:gd name="connsiteY19" fmla="*/ 3588544 h 4581525"/>
              <a:gd name="connsiteX20" fmla="*/ 1153954 w 4581525"/>
              <a:gd name="connsiteY20" fmla="*/ 4480084 h 4581525"/>
              <a:gd name="connsiteX21" fmla="*/ 1204436 w 4581525"/>
              <a:gd name="connsiteY21" fmla="*/ 4575334 h 4581525"/>
              <a:gd name="connsiteX22" fmla="*/ 1299686 w 4581525"/>
              <a:gd name="connsiteY22" fmla="*/ 4524851 h 4581525"/>
              <a:gd name="connsiteX23" fmla="*/ 1447324 w 4581525"/>
              <a:gd name="connsiteY23" fmla="*/ 4044791 h 4581525"/>
              <a:gd name="connsiteX24" fmla="*/ 3139916 w 4581525"/>
              <a:gd name="connsiteY24" fmla="*/ 4044791 h 4581525"/>
              <a:gd name="connsiteX25" fmla="*/ 3287554 w 4581525"/>
              <a:gd name="connsiteY25" fmla="*/ 4524851 h 4581525"/>
              <a:gd name="connsiteX26" fmla="*/ 3382804 w 4581525"/>
              <a:gd name="connsiteY26" fmla="*/ 4575334 h 4581525"/>
              <a:gd name="connsiteX27" fmla="*/ 3433286 w 4581525"/>
              <a:gd name="connsiteY27" fmla="*/ 4480084 h 4581525"/>
              <a:gd name="connsiteX28" fmla="*/ 3158014 w 4581525"/>
              <a:gd name="connsiteY28" fmla="*/ 3588544 h 4581525"/>
              <a:gd name="connsiteX29" fmla="*/ 4502944 w 4581525"/>
              <a:gd name="connsiteY29" fmla="*/ 3588544 h 4581525"/>
              <a:gd name="connsiteX30" fmla="*/ 4579144 w 4581525"/>
              <a:gd name="connsiteY30" fmla="*/ 3512344 h 4581525"/>
              <a:gd name="connsiteX31" fmla="*/ 4579144 w 4581525"/>
              <a:gd name="connsiteY31" fmla="*/ 83344 h 4581525"/>
              <a:gd name="connsiteX32" fmla="*/ 4502944 w 4581525"/>
              <a:gd name="connsiteY32" fmla="*/ 7144 h 4581525"/>
              <a:gd name="connsiteX33" fmla="*/ 1493996 w 4581525"/>
              <a:gd name="connsiteY33" fmla="*/ 3893344 h 4581525"/>
              <a:gd name="connsiteX34" fmla="*/ 1587341 w 4581525"/>
              <a:gd name="connsiteY34" fmla="*/ 3588544 h 4581525"/>
              <a:gd name="connsiteX35" fmla="*/ 2998946 w 4581525"/>
              <a:gd name="connsiteY35" fmla="*/ 3588544 h 4581525"/>
              <a:gd name="connsiteX36" fmla="*/ 3092291 w 4581525"/>
              <a:gd name="connsiteY36" fmla="*/ 3893344 h 4581525"/>
              <a:gd name="connsiteX37" fmla="*/ 1493996 w 4581525"/>
              <a:gd name="connsiteY37" fmla="*/ 3893344 h 4581525"/>
              <a:gd name="connsiteX38" fmla="*/ 4426744 w 4581525"/>
              <a:gd name="connsiteY38" fmla="*/ 3436144 h 4581525"/>
              <a:gd name="connsiteX39" fmla="*/ 159544 w 4581525"/>
              <a:gd name="connsiteY39" fmla="*/ 3436144 h 4581525"/>
              <a:gd name="connsiteX40" fmla="*/ 159544 w 4581525"/>
              <a:gd name="connsiteY40" fmla="*/ 159544 h 4581525"/>
              <a:gd name="connsiteX41" fmla="*/ 4426744 w 4581525"/>
              <a:gd name="connsiteY41" fmla="*/ 159544 h 4581525"/>
              <a:gd name="connsiteX42" fmla="*/ 4426744 w 4581525"/>
              <a:gd name="connsiteY42" fmla="*/ 3436144 h 4581525"/>
              <a:gd name="connsiteX43" fmla="*/ 921544 w 4581525"/>
              <a:gd name="connsiteY43" fmla="*/ 2826544 h 4581525"/>
              <a:gd name="connsiteX44" fmla="*/ 616744 w 4581525"/>
              <a:gd name="connsiteY44" fmla="*/ 2826544 h 4581525"/>
              <a:gd name="connsiteX45" fmla="*/ 540544 w 4581525"/>
              <a:gd name="connsiteY45" fmla="*/ 2902744 h 4581525"/>
              <a:gd name="connsiteX46" fmla="*/ 540544 w 4581525"/>
              <a:gd name="connsiteY46" fmla="*/ 3207544 h 4581525"/>
              <a:gd name="connsiteX47" fmla="*/ 616744 w 4581525"/>
              <a:gd name="connsiteY47" fmla="*/ 3283744 h 4581525"/>
              <a:gd name="connsiteX48" fmla="*/ 921544 w 4581525"/>
              <a:gd name="connsiteY48" fmla="*/ 3283744 h 4581525"/>
              <a:gd name="connsiteX49" fmla="*/ 997744 w 4581525"/>
              <a:gd name="connsiteY49" fmla="*/ 3207544 h 4581525"/>
              <a:gd name="connsiteX50" fmla="*/ 997744 w 4581525"/>
              <a:gd name="connsiteY50" fmla="*/ 2902744 h 4581525"/>
              <a:gd name="connsiteX51" fmla="*/ 921544 w 4581525"/>
              <a:gd name="connsiteY51" fmla="*/ 2826544 h 4581525"/>
              <a:gd name="connsiteX52" fmla="*/ 845344 w 4581525"/>
              <a:gd name="connsiteY52" fmla="*/ 3131344 h 4581525"/>
              <a:gd name="connsiteX53" fmla="*/ 692944 w 4581525"/>
              <a:gd name="connsiteY53" fmla="*/ 3131344 h 4581525"/>
              <a:gd name="connsiteX54" fmla="*/ 692944 w 4581525"/>
              <a:gd name="connsiteY54" fmla="*/ 2978944 h 4581525"/>
              <a:gd name="connsiteX55" fmla="*/ 845344 w 4581525"/>
              <a:gd name="connsiteY55" fmla="*/ 2978944 h 4581525"/>
              <a:gd name="connsiteX56" fmla="*/ 845344 w 4581525"/>
              <a:gd name="connsiteY56" fmla="*/ 3131344 h 4581525"/>
              <a:gd name="connsiteX57" fmla="*/ 1683544 w 4581525"/>
              <a:gd name="connsiteY57" fmla="*/ 2674144 h 4581525"/>
              <a:gd name="connsiteX58" fmla="*/ 1378744 w 4581525"/>
              <a:gd name="connsiteY58" fmla="*/ 2674144 h 4581525"/>
              <a:gd name="connsiteX59" fmla="*/ 1302544 w 4581525"/>
              <a:gd name="connsiteY59" fmla="*/ 2750344 h 4581525"/>
              <a:gd name="connsiteX60" fmla="*/ 1302544 w 4581525"/>
              <a:gd name="connsiteY60" fmla="*/ 3207544 h 4581525"/>
              <a:gd name="connsiteX61" fmla="*/ 1378744 w 4581525"/>
              <a:gd name="connsiteY61" fmla="*/ 3283744 h 4581525"/>
              <a:gd name="connsiteX62" fmla="*/ 1683544 w 4581525"/>
              <a:gd name="connsiteY62" fmla="*/ 3283744 h 4581525"/>
              <a:gd name="connsiteX63" fmla="*/ 1759744 w 4581525"/>
              <a:gd name="connsiteY63" fmla="*/ 3207544 h 4581525"/>
              <a:gd name="connsiteX64" fmla="*/ 1759744 w 4581525"/>
              <a:gd name="connsiteY64" fmla="*/ 2750344 h 4581525"/>
              <a:gd name="connsiteX65" fmla="*/ 1683544 w 4581525"/>
              <a:gd name="connsiteY65" fmla="*/ 2674144 h 4581525"/>
              <a:gd name="connsiteX66" fmla="*/ 1607344 w 4581525"/>
              <a:gd name="connsiteY66" fmla="*/ 3131344 h 4581525"/>
              <a:gd name="connsiteX67" fmla="*/ 1454944 w 4581525"/>
              <a:gd name="connsiteY67" fmla="*/ 3131344 h 4581525"/>
              <a:gd name="connsiteX68" fmla="*/ 1454944 w 4581525"/>
              <a:gd name="connsiteY68" fmla="*/ 2826544 h 4581525"/>
              <a:gd name="connsiteX69" fmla="*/ 1607344 w 4581525"/>
              <a:gd name="connsiteY69" fmla="*/ 2826544 h 4581525"/>
              <a:gd name="connsiteX70" fmla="*/ 1607344 w 4581525"/>
              <a:gd name="connsiteY70" fmla="*/ 3131344 h 4581525"/>
              <a:gd name="connsiteX71" fmla="*/ 2445544 w 4581525"/>
              <a:gd name="connsiteY71" fmla="*/ 2369344 h 4581525"/>
              <a:gd name="connsiteX72" fmla="*/ 2140744 w 4581525"/>
              <a:gd name="connsiteY72" fmla="*/ 2369344 h 4581525"/>
              <a:gd name="connsiteX73" fmla="*/ 2064544 w 4581525"/>
              <a:gd name="connsiteY73" fmla="*/ 2445544 h 4581525"/>
              <a:gd name="connsiteX74" fmla="*/ 2064544 w 4581525"/>
              <a:gd name="connsiteY74" fmla="*/ 3207544 h 4581525"/>
              <a:gd name="connsiteX75" fmla="*/ 2140744 w 4581525"/>
              <a:gd name="connsiteY75" fmla="*/ 3283744 h 4581525"/>
              <a:gd name="connsiteX76" fmla="*/ 2445544 w 4581525"/>
              <a:gd name="connsiteY76" fmla="*/ 3283744 h 4581525"/>
              <a:gd name="connsiteX77" fmla="*/ 2521744 w 4581525"/>
              <a:gd name="connsiteY77" fmla="*/ 3207544 h 4581525"/>
              <a:gd name="connsiteX78" fmla="*/ 2521744 w 4581525"/>
              <a:gd name="connsiteY78" fmla="*/ 2445544 h 4581525"/>
              <a:gd name="connsiteX79" fmla="*/ 2445544 w 4581525"/>
              <a:gd name="connsiteY79" fmla="*/ 2369344 h 4581525"/>
              <a:gd name="connsiteX80" fmla="*/ 2369344 w 4581525"/>
              <a:gd name="connsiteY80" fmla="*/ 3131344 h 4581525"/>
              <a:gd name="connsiteX81" fmla="*/ 2216944 w 4581525"/>
              <a:gd name="connsiteY81" fmla="*/ 3131344 h 4581525"/>
              <a:gd name="connsiteX82" fmla="*/ 2216944 w 4581525"/>
              <a:gd name="connsiteY82" fmla="*/ 2521744 h 4581525"/>
              <a:gd name="connsiteX83" fmla="*/ 2369344 w 4581525"/>
              <a:gd name="connsiteY83" fmla="*/ 2521744 h 4581525"/>
              <a:gd name="connsiteX84" fmla="*/ 2369344 w 4581525"/>
              <a:gd name="connsiteY84" fmla="*/ 3131344 h 4581525"/>
              <a:gd name="connsiteX85" fmla="*/ 3207544 w 4581525"/>
              <a:gd name="connsiteY85" fmla="*/ 1912144 h 4581525"/>
              <a:gd name="connsiteX86" fmla="*/ 2902744 w 4581525"/>
              <a:gd name="connsiteY86" fmla="*/ 1912144 h 4581525"/>
              <a:gd name="connsiteX87" fmla="*/ 2826544 w 4581525"/>
              <a:gd name="connsiteY87" fmla="*/ 1988344 h 4581525"/>
              <a:gd name="connsiteX88" fmla="*/ 2826544 w 4581525"/>
              <a:gd name="connsiteY88" fmla="*/ 3207544 h 4581525"/>
              <a:gd name="connsiteX89" fmla="*/ 2902744 w 4581525"/>
              <a:gd name="connsiteY89" fmla="*/ 3283744 h 4581525"/>
              <a:gd name="connsiteX90" fmla="*/ 3207544 w 4581525"/>
              <a:gd name="connsiteY90" fmla="*/ 3283744 h 4581525"/>
              <a:gd name="connsiteX91" fmla="*/ 3283744 w 4581525"/>
              <a:gd name="connsiteY91" fmla="*/ 3207544 h 4581525"/>
              <a:gd name="connsiteX92" fmla="*/ 3283744 w 4581525"/>
              <a:gd name="connsiteY92" fmla="*/ 1988344 h 4581525"/>
              <a:gd name="connsiteX93" fmla="*/ 3207544 w 4581525"/>
              <a:gd name="connsiteY93" fmla="*/ 1912144 h 4581525"/>
              <a:gd name="connsiteX94" fmla="*/ 3131344 w 4581525"/>
              <a:gd name="connsiteY94" fmla="*/ 3131344 h 4581525"/>
              <a:gd name="connsiteX95" fmla="*/ 2978944 w 4581525"/>
              <a:gd name="connsiteY95" fmla="*/ 3131344 h 4581525"/>
              <a:gd name="connsiteX96" fmla="*/ 2978944 w 4581525"/>
              <a:gd name="connsiteY96" fmla="*/ 2064544 h 4581525"/>
              <a:gd name="connsiteX97" fmla="*/ 3131344 w 4581525"/>
              <a:gd name="connsiteY97" fmla="*/ 2064544 h 4581525"/>
              <a:gd name="connsiteX98" fmla="*/ 3131344 w 4581525"/>
              <a:gd name="connsiteY98" fmla="*/ 3131344 h 4581525"/>
              <a:gd name="connsiteX99" fmla="*/ 3969544 w 4581525"/>
              <a:gd name="connsiteY99" fmla="*/ 1073944 h 4581525"/>
              <a:gd name="connsiteX100" fmla="*/ 3664744 w 4581525"/>
              <a:gd name="connsiteY100" fmla="*/ 1073944 h 4581525"/>
              <a:gd name="connsiteX101" fmla="*/ 3588544 w 4581525"/>
              <a:gd name="connsiteY101" fmla="*/ 1150144 h 4581525"/>
              <a:gd name="connsiteX102" fmla="*/ 3588544 w 4581525"/>
              <a:gd name="connsiteY102" fmla="*/ 3207544 h 4581525"/>
              <a:gd name="connsiteX103" fmla="*/ 3664744 w 4581525"/>
              <a:gd name="connsiteY103" fmla="*/ 3283744 h 4581525"/>
              <a:gd name="connsiteX104" fmla="*/ 3969544 w 4581525"/>
              <a:gd name="connsiteY104" fmla="*/ 3283744 h 4581525"/>
              <a:gd name="connsiteX105" fmla="*/ 4045744 w 4581525"/>
              <a:gd name="connsiteY105" fmla="*/ 3207544 h 4581525"/>
              <a:gd name="connsiteX106" fmla="*/ 4045744 w 4581525"/>
              <a:gd name="connsiteY106" fmla="*/ 1150144 h 4581525"/>
              <a:gd name="connsiteX107" fmla="*/ 3969544 w 4581525"/>
              <a:gd name="connsiteY107" fmla="*/ 1073944 h 4581525"/>
              <a:gd name="connsiteX108" fmla="*/ 3893344 w 4581525"/>
              <a:gd name="connsiteY108" fmla="*/ 3131344 h 4581525"/>
              <a:gd name="connsiteX109" fmla="*/ 3740944 w 4581525"/>
              <a:gd name="connsiteY109" fmla="*/ 3131344 h 4581525"/>
              <a:gd name="connsiteX110" fmla="*/ 3740944 w 4581525"/>
              <a:gd name="connsiteY110" fmla="*/ 1226344 h 4581525"/>
              <a:gd name="connsiteX111" fmla="*/ 3893344 w 4581525"/>
              <a:gd name="connsiteY111" fmla="*/ 1226344 h 4581525"/>
              <a:gd name="connsiteX112" fmla="*/ 3893344 w 4581525"/>
              <a:gd name="connsiteY112" fmla="*/ 3131344 h 458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581525" h="4581525">
                <a:moveTo>
                  <a:pt x="4041934" y="821531"/>
                </a:moveTo>
                <a:lnTo>
                  <a:pt x="3889534" y="364331"/>
                </a:lnTo>
                <a:cubicBezTo>
                  <a:pt x="3876199" y="324326"/>
                  <a:pt x="3833336" y="302419"/>
                  <a:pt x="3793331" y="315754"/>
                </a:cubicBezTo>
                <a:cubicBezTo>
                  <a:pt x="3789521" y="316706"/>
                  <a:pt x="3786664" y="318611"/>
                  <a:pt x="3782854" y="320516"/>
                </a:cubicBezTo>
                <a:lnTo>
                  <a:pt x="3325654" y="549116"/>
                </a:lnTo>
                <a:cubicBezTo>
                  <a:pt x="3287554" y="568166"/>
                  <a:pt x="3272314" y="613886"/>
                  <a:pt x="3291364" y="651034"/>
                </a:cubicBezTo>
                <a:cubicBezTo>
                  <a:pt x="3310414" y="688181"/>
                  <a:pt x="3356134" y="704374"/>
                  <a:pt x="3393281" y="685324"/>
                </a:cubicBezTo>
                <a:lnTo>
                  <a:pt x="3641884" y="560546"/>
                </a:lnTo>
                <a:cubicBezTo>
                  <a:pt x="2987516" y="1758791"/>
                  <a:pt x="1792129" y="2521744"/>
                  <a:pt x="540544" y="2521744"/>
                </a:cubicBezTo>
                <a:lnTo>
                  <a:pt x="540544" y="2674144"/>
                </a:lnTo>
                <a:cubicBezTo>
                  <a:pt x="1864519" y="2674144"/>
                  <a:pt x="3126581" y="1859756"/>
                  <a:pt x="3802856" y="585311"/>
                </a:cubicBezTo>
                <a:lnTo>
                  <a:pt x="3897154" y="869156"/>
                </a:lnTo>
                <a:cubicBezTo>
                  <a:pt x="3910489" y="909161"/>
                  <a:pt x="3953351" y="931069"/>
                  <a:pt x="3993356" y="917734"/>
                </a:cubicBezTo>
                <a:cubicBezTo>
                  <a:pt x="4033361" y="904399"/>
                  <a:pt x="4055269" y="861536"/>
                  <a:pt x="4041934" y="821531"/>
                </a:cubicBezTo>
                <a:close/>
                <a:moveTo>
                  <a:pt x="4502944" y="7144"/>
                </a:moveTo>
                <a:lnTo>
                  <a:pt x="83344" y="7144"/>
                </a:lnTo>
                <a:cubicBezTo>
                  <a:pt x="41434" y="7144"/>
                  <a:pt x="7144" y="41434"/>
                  <a:pt x="7144" y="83344"/>
                </a:cubicBezTo>
                <a:lnTo>
                  <a:pt x="7144" y="3512344"/>
                </a:lnTo>
                <a:cubicBezTo>
                  <a:pt x="7144" y="3554254"/>
                  <a:pt x="41434" y="3588544"/>
                  <a:pt x="83344" y="3588544"/>
                </a:cubicBezTo>
                <a:lnTo>
                  <a:pt x="1428274" y="3588544"/>
                </a:lnTo>
                <a:lnTo>
                  <a:pt x="1153954" y="4480084"/>
                </a:lnTo>
                <a:cubicBezTo>
                  <a:pt x="1141571" y="4520089"/>
                  <a:pt x="1164431" y="4562951"/>
                  <a:pt x="1204436" y="4575334"/>
                </a:cubicBezTo>
                <a:cubicBezTo>
                  <a:pt x="1244441" y="4587716"/>
                  <a:pt x="1287304" y="4564856"/>
                  <a:pt x="1299686" y="4524851"/>
                </a:cubicBezTo>
                <a:lnTo>
                  <a:pt x="1447324" y="4044791"/>
                </a:lnTo>
                <a:lnTo>
                  <a:pt x="3139916" y="4044791"/>
                </a:lnTo>
                <a:lnTo>
                  <a:pt x="3287554" y="4524851"/>
                </a:lnTo>
                <a:cubicBezTo>
                  <a:pt x="3299936" y="4564856"/>
                  <a:pt x="3342799" y="4587716"/>
                  <a:pt x="3382804" y="4575334"/>
                </a:cubicBezTo>
                <a:cubicBezTo>
                  <a:pt x="3422809" y="4562951"/>
                  <a:pt x="3445669" y="4520089"/>
                  <a:pt x="3433286" y="4480084"/>
                </a:cubicBezTo>
                <a:lnTo>
                  <a:pt x="3158014" y="3588544"/>
                </a:lnTo>
                <a:lnTo>
                  <a:pt x="4502944" y="3588544"/>
                </a:lnTo>
                <a:cubicBezTo>
                  <a:pt x="4544854" y="3588544"/>
                  <a:pt x="4579144" y="3554254"/>
                  <a:pt x="4579144" y="3512344"/>
                </a:cubicBezTo>
                <a:lnTo>
                  <a:pt x="4579144" y="83344"/>
                </a:lnTo>
                <a:cubicBezTo>
                  <a:pt x="4579144" y="41434"/>
                  <a:pt x="4544854" y="7144"/>
                  <a:pt x="4502944" y="7144"/>
                </a:cubicBezTo>
                <a:close/>
                <a:moveTo>
                  <a:pt x="1493996" y="3893344"/>
                </a:moveTo>
                <a:lnTo>
                  <a:pt x="1587341" y="3588544"/>
                </a:lnTo>
                <a:lnTo>
                  <a:pt x="2998946" y="3588544"/>
                </a:lnTo>
                <a:lnTo>
                  <a:pt x="3092291" y="3893344"/>
                </a:lnTo>
                <a:lnTo>
                  <a:pt x="1493996" y="3893344"/>
                </a:lnTo>
                <a:close/>
                <a:moveTo>
                  <a:pt x="4426744" y="3436144"/>
                </a:moveTo>
                <a:lnTo>
                  <a:pt x="159544" y="3436144"/>
                </a:lnTo>
                <a:lnTo>
                  <a:pt x="159544" y="159544"/>
                </a:lnTo>
                <a:lnTo>
                  <a:pt x="4426744" y="159544"/>
                </a:lnTo>
                <a:lnTo>
                  <a:pt x="4426744" y="3436144"/>
                </a:lnTo>
                <a:close/>
                <a:moveTo>
                  <a:pt x="921544" y="2826544"/>
                </a:moveTo>
                <a:lnTo>
                  <a:pt x="616744" y="2826544"/>
                </a:lnTo>
                <a:cubicBezTo>
                  <a:pt x="574834" y="2826544"/>
                  <a:pt x="540544" y="2860834"/>
                  <a:pt x="540544" y="2902744"/>
                </a:cubicBezTo>
                <a:lnTo>
                  <a:pt x="540544" y="3207544"/>
                </a:lnTo>
                <a:cubicBezTo>
                  <a:pt x="540544" y="3249454"/>
                  <a:pt x="574834" y="3283744"/>
                  <a:pt x="616744" y="3283744"/>
                </a:cubicBezTo>
                <a:lnTo>
                  <a:pt x="921544" y="3283744"/>
                </a:lnTo>
                <a:cubicBezTo>
                  <a:pt x="963454" y="3283744"/>
                  <a:pt x="997744" y="3249454"/>
                  <a:pt x="997744" y="3207544"/>
                </a:cubicBezTo>
                <a:lnTo>
                  <a:pt x="997744" y="2902744"/>
                </a:lnTo>
                <a:cubicBezTo>
                  <a:pt x="997744" y="2860834"/>
                  <a:pt x="963454" y="2826544"/>
                  <a:pt x="921544" y="2826544"/>
                </a:cubicBezTo>
                <a:close/>
                <a:moveTo>
                  <a:pt x="845344" y="3131344"/>
                </a:moveTo>
                <a:lnTo>
                  <a:pt x="692944" y="3131344"/>
                </a:lnTo>
                <a:lnTo>
                  <a:pt x="692944" y="2978944"/>
                </a:lnTo>
                <a:lnTo>
                  <a:pt x="845344" y="2978944"/>
                </a:lnTo>
                <a:lnTo>
                  <a:pt x="845344" y="3131344"/>
                </a:lnTo>
                <a:close/>
                <a:moveTo>
                  <a:pt x="1683544" y="2674144"/>
                </a:moveTo>
                <a:lnTo>
                  <a:pt x="1378744" y="2674144"/>
                </a:lnTo>
                <a:cubicBezTo>
                  <a:pt x="1336834" y="2674144"/>
                  <a:pt x="1302544" y="2708434"/>
                  <a:pt x="1302544" y="2750344"/>
                </a:cubicBezTo>
                <a:lnTo>
                  <a:pt x="1302544" y="3207544"/>
                </a:lnTo>
                <a:cubicBezTo>
                  <a:pt x="1302544" y="3249454"/>
                  <a:pt x="1336834" y="3283744"/>
                  <a:pt x="1378744" y="3283744"/>
                </a:cubicBezTo>
                <a:lnTo>
                  <a:pt x="1683544" y="3283744"/>
                </a:lnTo>
                <a:cubicBezTo>
                  <a:pt x="1725454" y="3283744"/>
                  <a:pt x="1759744" y="3249454"/>
                  <a:pt x="1759744" y="3207544"/>
                </a:cubicBezTo>
                <a:lnTo>
                  <a:pt x="1759744" y="2750344"/>
                </a:lnTo>
                <a:cubicBezTo>
                  <a:pt x="1759744" y="2708434"/>
                  <a:pt x="1725454" y="2674144"/>
                  <a:pt x="1683544" y="2674144"/>
                </a:cubicBezTo>
                <a:close/>
                <a:moveTo>
                  <a:pt x="1607344" y="3131344"/>
                </a:moveTo>
                <a:lnTo>
                  <a:pt x="1454944" y="3131344"/>
                </a:lnTo>
                <a:lnTo>
                  <a:pt x="1454944" y="2826544"/>
                </a:lnTo>
                <a:lnTo>
                  <a:pt x="1607344" y="2826544"/>
                </a:lnTo>
                <a:lnTo>
                  <a:pt x="1607344" y="3131344"/>
                </a:lnTo>
                <a:close/>
                <a:moveTo>
                  <a:pt x="2445544" y="2369344"/>
                </a:moveTo>
                <a:lnTo>
                  <a:pt x="2140744" y="2369344"/>
                </a:lnTo>
                <a:cubicBezTo>
                  <a:pt x="2098834" y="2369344"/>
                  <a:pt x="2064544" y="2403634"/>
                  <a:pt x="2064544" y="2445544"/>
                </a:cubicBezTo>
                <a:lnTo>
                  <a:pt x="2064544" y="3207544"/>
                </a:lnTo>
                <a:cubicBezTo>
                  <a:pt x="2064544" y="3249454"/>
                  <a:pt x="2098834" y="3283744"/>
                  <a:pt x="2140744" y="3283744"/>
                </a:cubicBezTo>
                <a:lnTo>
                  <a:pt x="2445544" y="3283744"/>
                </a:lnTo>
                <a:cubicBezTo>
                  <a:pt x="2487454" y="3283744"/>
                  <a:pt x="2521744" y="3249454"/>
                  <a:pt x="2521744" y="3207544"/>
                </a:cubicBezTo>
                <a:lnTo>
                  <a:pt x="2521744" y="2445544"/>
                </a:lnTo>
                <a:cubicBezTo>
                  <a:pt x="2521744" y="2403634"/>
                  <a:pt x="2487454" y="2369344"/>
                  <a:pt x="2445544" y="2369344"/>
                </a:cubicBezTo>
                <a:close/>
                <a:moveTo>
                  <a:pt x="2369344" y="3131344"/>
                </a:moveTo>
                <a:lnTo>
                  <a:pt x="2216944" y="3131344"/>
                </a:lnTo>
                <a:lnTo>
                  <a:pt x="2216944" y="2521744"/>
                </a:lnTo>
                <a:lnTo>
                  <a:pt x="2369344" y="2521744"/>
                </a:lnTo>
                <a:lnTo>
                  <a:pt x="2369344" y="3131344"/>
                </a:lnTo>
                <a:close/>
                <a:moveTo>
                  <a:pt x="3207544" y="1912144"/>
                </a:moveTo>
                <a:lnTo>
                  <a:pt x="2902744" y="1912144"/>
                </a:lnTo>
                <a:cubicBezTo>
                  <a:pt x="2860834" y="1912144"/>
                  <a:pt x="2826544" y="1946434"/>
                  <a:pt x="2826544" y="1988344"/>
                </a:cubicBezTo>
                <a:lnTo>
                  <a:pt x="2826544" y="3207544"/>
                </a:lnTo>
                <a:cubicBezTo>
                  <a:pt x="2826544" y="3249454"/>
                  <a:pt x="2860834" y="3283744"/>
                  <a:pt x="2902744" y="3283744"/>
                </a:cubicBezTo>
                <a:lnTo>
                  <a:pt x="3207544" y="3283744"/>
                </a:lnTo>
                <a:cubicBezTo>
                  <a:pt x="3249454" y="3283744"/>
                  <a:pt x="3283744" y="3249454"/>
                  <a:pt x="3283744" y="3207544"/>
                </a:cubicBezTo>
                <a:lnTo>
                  <a:pt x="3283744" y="1988344"/>
                </a:lnTo>
                <a:cubicBezTo>
                  <a:pt x="3283744" y="1946434"/>
                  <a:pt x="3249454" y="1912144"/>
                  <a:pt x="3207544" y="1912144"/>
                </a:cubicBezTo>
                <a:close/>
                <a:moveTo>
                  <a:pt x="3131344" y="3131344"/>
                </a:moveTo>
                <a:lnTo>
                  <a:pt x="2978944" y="3131344"/>
                </a:lnTo>
                <a:lnTo>
                  <a:pt x="2978944" y="2064544"/>
                </a:lnTo>
                <a:lnTo>
                  <a:pt x="3131344" y="2064544"/>
                </a:lnTo>
                <a:lnTo>
                  <a:pt x="3131344" y="3131344"/>
                </a:lnTo>
                <a:close/>
                <a:moveTo>
                  <a:pt x="3969544" y="1073944"/>
                </a:moveTo>
                <a:lnTo>
                  <a:pt x="3664744" y="1073944"/>
                </a:lnTo>
                <a:cubicBezTo>
                  <a:pt x="3622834" y="1073944"/>
                  <a:pt x="3588544" y="1108234"/>
                  <a:pt x="3588544" y="1150144"/>
                </a:cubicBezTo>
                <a:lnTo>
                  <a:pt x="3588544" y="3207544"/>
                </a:lnTo>
                <a:cubicBezTo>
                  <a:pt x="3588544" y="3249454"/>
                  <a:pt x="3622834" y="3283744"/>
                  <a:pt x="3664744" y="3283744"/>
                </a:cubicBezTo>
                <a:lnTo>
                  <a:pt x="3969544" y="3283744"/>
                </a:lnTo>
                <a:cubicBezTo>
                  <a:pt x="4011454" y="3283744"/>
                  <a:pt x="4045744" y="3249454"/>
                  <a:pt x="4045744" y="3207544"/>
                </a:cubicBezTo>
                <a:lnTo>
                  <a:pt x="4045744" y="1150144"/>
                </a:lnTo>
                <a:cubicBezTo>
                  <a:pt x="4045744" y="1108234"/>
                  <a:pt x="4011454" y="1073944"/>
                  <a:pt x="3969544" y="1073944"/>
                </a:cubicBezTo>
                <a:close/>
                <a:moveTo>
                  <a:pt x="3893344" y="3131344"/>
                </a:moveTo>
                <a:lnTo>
                  <a:pt x="3740944" y="3131344"/>
                </a:lnTo>
                <a:lnTo>
                  <a:pt x="3740944" y="1226344"/>
                </a:lnTo>
                <a:lnTo>
                  <a:pt x="3893344" y="1226344"/>
                </a:lnTo>
                <a:lnTo>
                  <a:pt x="3893344" y="3131344"/>
                </a:lnTo>
                <a:close/>
              </a:path>
            </a:pathLst>
          </a:custGeom>
          <a:solidFill>
            <a:srgbClr val="000000"/>
          </a:solidFill>
          <a:ln w="9525" cap="flat">
            <a:noFill/>
            <a:prstDash val="solid"/>
            <a:miter/>
          </a:ln>
        </p:spPr>
        <p:txBody>
          <a:bodyPr rtlCol="0" anchor="ctr"/>
          <a:lstStyle/>
          <a:p>
            <a:endParaRPr lang="sr-Latn-RS" sz="2400"/>
          </a:p>
        </p:txBody>
      </p:sp>
      <p:sp>
        <p:nvSpPr>
          <p:cNvPr id="15" name="TextBox 14">
            <a:extLst>
              <a:ext uri="{FF2B5EF4-FFF2-40B4-BE49-F238E27FC236}">
                <a16:creationId xmlns:a16="http://schemas.microsoft.com/office/drawing/2014/main" id="{8FB1C862-75F6-4E6B-8F2A-4820E8E2C017}"/>
              </a:ext>
            </a:extLst>
          </p:cNvPr>
          <p:cNvSpPr txBox="1"/>
          <p:nvPr/>
        </p:nvSpPr>
        <p:spPr>
          <a:xfrm>
            <a:off x="7758341" y="5354153"/>
            <a:ext cx="3590364" cy="830997"/>
          </a:xfrm>
          <a:prstGeom prst="rect">
            <a:avLst/>
          </a:prstGeom>
          <a:noFill/>
        </p:spPr>
        <p:txBody>
          <a:bodyPr wrap="square">
            <a:spAutoFit/>
          </a:bodyPr>
          <a:lstStyle/>
          <a:p>
            <a:pPr lvl="2"/>
            <a:r>
              <a:rPr lang="en-US" sz="1200" i="1" dirty="0"/>
              <a:t>“it will </a:t>
            </a:r>
            <a:r>
              <a:rPr lang="en-US" sz="1200" i="1" u="sng" dirty="0"/>
              <a:t>improve the activities and processes </a:t>
            </a:r>
            <a:r>
              <a:rPr lang="en-US" sz="1200" i="1" dirty="0"/>
              <a:t>by taking into account relevant feedback coming from the assessment of the governance.”</a:t>
            </a:r>
            <a:endParaRPr lang="en-US" sz="1200" dirty="0"/>
          </a:p>
        </p:txBody>
      </p:sp>
    </p:spTree>
    <p:extLst>
      <p:ext uri="{BB962C8B-B14F-4D97-AF65-F5344CB8AC3E}">
        <p14:creationId xmlns:p14="http://schemas.microsoft.com/office/powerpoint/2010/main" val="41374637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C9E12E-B644-483D-91C0-391C4A70895D}"/>
              </a:ext>
            </a:extLst>
          </p:cNvPr>
          <p:cNvSpPr>
            <a:spLocks noGrp="1"/>
          </p:cNvSpPr>
          <p:nvPr>
            <p:ph type="title"/>
          </p:nvPr>
        </p:nvSpPr>
        <p:spPr/>
        <p:txBody>
          <a:bodyPr/>
          <a:lstStyle/>
          <a:p>
            <a:r>
              <a:rPr lang="en-US" dirty="0"/>
              <a:t>D1.3 Improving a CCN pilot</a:t>
            </a:r>
            <a:br>
              <a:rPr lang="en-US" dirty="0"/>
            </a:br>
            <a:r>
              <a:rPr lang="en-US" dirty="0">
                <a:solidFill>
                  <a:schemeClr val="accent1"/>
                </a:solidFill>
              </a:rPr>
              <a:t>3.2 Transversal activities</a:t>
            </a:r>
            <a:br>
              <a:rPr lang="en-US" dirty="0">
                <a:solidFill>
                  <a:schemeClr val="accent1"/>
                </a:solidFill>
              </a:rPr>
            </a:br>
            <a:endParaRPr lang="en-US" dirty="0">
              <a:solidFill>
                <a:schemeClr val="accent1"/>
              </a:solidFill>
            </a:endParaRPr>
          </a:p>
        </p:txBody>
      </p:sp>
      <p:sp>
        <p:nvSpPr>
          <p:cNvPr id="16" name="Content Placeholder 4">
            <a:extLst>
              <a:ext uri="{FF2B5EF4-FFF2-40B4-BE49-F238E27FC236}">
                <a16:creationId xmlns:a16="http://schemas.microsoft.com/office/drawing/2014/main" id="{91BEEB64-9327-4F4C-BAA0-3A53ADC179D5}"/>
              </a:ext>
            </a:extLst>
          </p:cNvPr>
          <p:cNvSpPr txBox="1">
            <a:spLocks/>
          </p:cNvSpPr>
          <p:nvPr/>
        </p:nvSpPr>
        <p:spPr>
          <a:xfrm>
            <a:off x="578840" y="1442904"/>
            <a:ext cx="10089160" cy="4926617"/>
          </a:xfrm>
          <a:prstGeom prst="rect">
            <a:avLst/>
          </a:prstGeom>
        </p:spPr>
        <p:txBody>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cap="all" dirty="0">
                <a:solidFill>
                  <a:schemeClr val="tx1">
                    <a:lumMod val="75000"/>
                    <a:lumOff val="25000"/>
                  </a:schemeClr>
                </a:solidFill>
                <a:latin typeface="+mj-lt"/>
                <a:ea typeface="+mj-ea"/>
                <a:cs typeface="+mj-cs"/>
              </a:rPr>
              <a:t>WP8 Clustering, platforms, and ecosystems activities	(CNR, Fabio)</a:t>
            </a:r>
          </a:p>
          <a:p>
            <a:pPr lvl="1"/>
            <a:endParaRPr lang="en-US" b="1" dirty="0"/>
          </a:p>
          <a:p>
            <a:pPr lvl="1"/>
            <a:r>
              <a:rPr lang="en-US" b="1" dirty="0"/>
              <a:t>Year 1 bootstrapping</a:t>
            </a:r>
          </a:p>
          <a:p>
            <a:pPr lvl="2"/>
            <a:r>
              <a:rPr lang="en-US" dirty="0"/>
              <a:t>Community of Associates and Friends + Partners</a:t>
            </a:r>
          </a:p>
          <a:p>
            <a:pPr lvl="2"/>
            <a:r>
              <a:rPr lang="en-US" dirty="0"/>
              <a:t>Setup the SPARTA monthly workshops</a:t>
            </a:r>
          </a:p>
          <a:p>
            <a:pPr lvl="2"/>
            <a:r>
              <a:rPr lang="en-US" dirty="0"/>
              <a:t>Specify the JCCI - Joint Competence Centre Infrastructure</a:t>
            </a:r>
          </a:p>
          <a:p>
            <a:pPr lvl="2"/>
            <a:r>
              <a:rPr lang="en-US" dirty="0"/>
              <a:t>Support building relationships with all the relevant projects</a:t>
            </a:r>
          </a:p>
          <a:p>
            <a:pPr lvl="2"/>
            <a:r>
              <a:rPr lang="en-US" dirty="0"/>
              <a:t>Governance structures: Partnership Committee, Associates Council</a:t>
            </a:r>
          </a:p>
          <a:p>
            <a:pPr lvl="1"/>
            <a:r>
              <a:rPr lang="en-US" b="1" dirty="0"/>
              <a:t>Initiatives + Recommendations (D1.2)</a:t>
            </a:r>
          </a:p>
          <a:p>
            <a:pPr lvl="2"/>
            <a:r>
              <a:rPr lang="en-US" dirty="0"/>
              <a:t>GC_I1: Technical Integration: Clarify the desirable and feasible level of integration between the technical components and results produced by WP4-WP7. Clarify the achievable level of alignment between the four technical programs on the one hand and both WP8 and WP11 on the other.</a:t>
            </a:r>
          </a:p>
          <a:p>
            <a:pPr lvl="1"/>
            <a:r>
              <a:rPr lang="en-US" b="1" dirty="0"/>
              <a:t>Year 2</a:t>
            </a:r>
          </a:p>
          <a:p>
            <a:pPr lvl="2"/>
            <a:r>
              <a:rPr lang="en-US" dirty="0"/>
              <a:t>Report on improvements to the activities and processes</a:t>
            </a:r>
          </a:p>
          <a:p>
            <a:pPr lvl="2"/>
            <a:r>
              <a:rPr lang="en-US" dirty="0"/>
              <a:t>Risks: all considered relevant</a:t>
            </a:r>
          </a:p>
          <a:p>
            <a:pPr lvl="3"/>
            <a:r>
              <a:rPr lang="en-US" dirty="0"/>
              <a:t>Mitigate risks that materialized</a:t>
            </a:r>
          </a:p>
          <a:p>
            <a:pPr lvl="4"/>
            <a:r>
              <a:rPr lang="en-US" dirty="0"/>
              <a:t>WP8_1 Lack of integration among the platforms</a:t>
            </a:r>
          </a:p>
          <a:p>
            <a:pPr lvl="4"/>
            <a:r>
              <a:rPr lang="en-US" dirty="0"/>
              <a:t>WP8_2 Lack of integration of national ecosystems</a:t>
            </a:r>
          </a:p>
          <a:p>
            <a:pPr lvl="2"/>
            <a:endParaRPr lang="en-US" dirty="0"/>
          </a:p>
          <a:p>
            <a:pPr marL="0" indent="0">
              <a:buNone/>
            </a:pPr>
            <a:endParaRPr lang="en-US" dirty="0"/>
          </a:p>
        </p:txBody>
      </p:sp>
      <p:pic>
        <p:nvPicPr>
          <p:cNvPr id="5" name="Picture 4">
            <a:extLst>
              <a:ext uri="{FF2B5EF4-FFF2-40B4-BE49-F238E27FC236}">
                <a16:creationId xmlns:a16="http://schemas.microsoft.com/office/drawing/2014/main" id="{7D2E2237-8639-4C22-A90B-28335F62B041}"/>
              </a:ext>
            </a:extLst>
          </p:cNvPr>
          <p:cNvPicPr>
            <a:picLocks noChangeAspect="1"/>
          </p:cNvPicPr>
          <p:nvPr/>
        </p:nvPicPr>
        <p:blipFill rotWithShape="1">
          <a:blip r:embed="rId2"/>
          <a:srcRect l="28816" t="10352" r="40197" b="64754"/>
          <a:stretch/>
        </p:blipFill>
        <p:spPr>
          <a:xfrm>
            <a:off x="7507941" y="239028"/>
            <a:ext cx="2398793" cy="1048871"/>
          </a:xfrm>
          <a:prstGeom prst="rect">
            <a:avLst/>
          </a:prstGeom>
          <a:ln w="31750">
            <a:solidFill>
              <a:schemeClr val="accent1"/>
            </a:solidFill>
          </a:ln>
        </p:spPr>
      </p:pic>
      <p:sp>
        <p:nvSpPr>
          <p:cNvPr id="13" name="Freeform: Shape 12">
            <a:extLst>
              <a:ext uri="{FF2B5EF4-FFF2-40B4-BE49-F238E27FC236}">
                <a16:creationId xmlns:a16="http://schemas.microsoft.com/office/drawing/2014/main" id="{E73FE964-9788-497D-A4D0-397B86C68CDD}"/>
              </a:ext>
            </a:extLst>
          </p:cNvPr>
          <p:cNvSpPr>
            <a:spLocks noChangeAspect="1"/>
          </p:cNvSpPr>
          <p:nvPr/>
        </p:nvSpPr>
        <p:spPr>
          <a:xfrm>
            <a:off x="10356000" y="198646"/>
            <a:ext cx="624000" cy="624000"/>
          </a:xfrm>
          <a:custGeom>
            <a:avLst/>
            <a:gdLst>
              <a:gd name="connsiteX0" fmla="*/ 4041934 w 4581525"/>
              <a:gd name="connsiteY0" fmla="*/ 821531 h 4581525"/>
              <a:gd name="connsiteX1" fmla="*/ 3889534 w 4581525"/>
              <a:gd name="connsiteY1" fmla="*/ 364331 h 4581525"/>
              <a:gd name="connsiteX2" fmla="*/ 3793331 w 4581525"/>
              <a:gd name="connsiteY2" fmla="*/ 315754 h 4581525"/>
              <a:gd name="connsiteX3" fmla="*/ 3782854 w 4581525"/>
              <a:gd name="connsiteY3" fmla="*/ 320516 h 4581525"/>
              <a:gd name="connsiteX4" fmla="*/ 3325654 w 4581525"/>
              <a:gd name="connsiteY4" fmla="*/ 549116 h 4581525"/>
              <a:gd name="connsiteX5" fmla="*/ 3291364 w 4581525"/>
              <a:gd name="connsiteY5" fmla="*/ 651034 h 4581525"/>
              <a:gd name="connsiteX6" fmla="*/ 3393281 w 4581525"/>
              <a:gd name="connsiteY6" fmla="*/ 685324 h 4581525"/>
              <a:gd name="connsiteX7" fmla="*/ 3641884 w 4581525"/>
              <a:gd name="connsiteY7" fmla="*/ 560546 h 4581525"/>
              <a:gd name="connsiteX8" fmla="*/ 540544 w 4581525"/>
              <a:gd name="connsiteY8" fmla="*/ 2521744 h 4581525"/>
              <a:gd name="connsiteX9" fmla="*/ 540544 w 4581525"/>
              <a:gd name="connsiteY9" fmla="*/ 2674144 h 4581525"/>
              <a:gd name="connsiteX10" fmla="*/ 3802856 w 4581525"/>
              <a:gd name="connsiteY10" fmla="*/ 585311 h 4581525"/>
              <a:gd name="connsiteX11" fmla="*/ 3897154 w 4581525"/>
              <a:gd name="connsiteY11" fmla="*/ 869156 h 4581525"/>
              <a:gd name="connsiteX12" fmla="*/ 3993356 w 4581525"/>
              <a:gd name="connsiteY12" fmla="*/ 917734 h 4581525"/>
              <a:gd name="connsiteX13" fmla="*/ 4041934 w 4581525"/>
              <a:gd name="connsiteY13" fmla="*/ 821531 h 4581525"/>
              <a:gd name="connsiteX14" fmla="*/ 4502944 w 4581525"/>
              <a:gd name="connsiteY14" fmla="*/ 7144 h 4581525"/>
              <a:gd name="connsiteX15" fmla="*/ 83344 w 4581525"/>
              <a:gd name="connsiteY15" fmla="*/ 7144 h 4581525"/>
              <a:gd name="connsiteX16" fmla="*/ 7144 w 4581525"/>
              <a:gd name="connsiteY16" fmla="*/ 83344 h 4581525"/>
              <a:gd name="connsiteX17" fmla="*/ 7144 w 4581525"/>
              <a:gd name="connsiteY17" fmla="*/ 3512344 h 4581525"/>
              <a:gd name="connsiteX18" fmla="*/ 83344 w 4581525"/>
              <a:gd name="connsiteY18" fmla="*/ 3588544 h 4581525"/>
              <a:gd name="connsiteX19" fmla="*/ 1428274 w 4581525"/>
              <a:gd name="connsiteY19" fmla="*/ 3588544 h 4581525"/>
              <a:gd name="connsiteX20" fmla="*/ 1153954 w 4581525"/>
              <a:gd name="connsiteY20" fmla="*/ 4480084 h 4581525"/>
              <a:gd name="connsiteX21" fmla="*/ 1204436 w 4581525"/>
              <a:gd name="connsiteY21" fmla="*/ 4575334 h 4581525"/>
              <a:gd name="connsiteX22" fmla="*/ 1299686 w 4581525"/>
              <a:gd name="connsiteY22" fmla="*/ 4524851 h 4581525"/>
              <a:gd name="connsiteX23" fmla="*/ 1447324 w 4581525"/>
              <a:gd name="connsiteY23" fmla="*/ 4044791 h 4581525"/>
              <a:gd name="connsiteX24" fmla="*/ 3139916 w 4581525"/>
              <a:gd name="connsiteY24" fmla="*/ 4044791 h 4581525"/>
              <a:gd name="connsiteX25" fmla="*/ 3287554 w 4581525"/>
              <a:gd name="connsiteY25" fmla="*/ 4524851 h 4581525"/>
              <a:gd name="connsiteX26" fmla="*/ 3382804 w 4581525"/>
              <a:gd name="connsiteY26" fmla="*/ 4575334 h 4581525"/>
              <a:gd name="connsiteX27" fmla="*/ 3433286 w 4581525"/>
              <a:gd name="connsiteY27" fmla="*/ 4480084 h 4581525"/>
              <a:gd name="connsiteX28" fmla="*/ 3158014 w 4581525"/>
              <a:gd name="connsiteY28" fmla="*/ 3588544 h 4581525"/>
              <a:gd name="connsiteX29" fmla="*/ 4502944 w 4581525"/>
              <a:gd name="connsiteY29" fmla="*/ 3588544 h 4581525"/>
              <a:gd name="connsiteX30" fmla="*/ 4579144 w 4581525"/>
              <a:gd name="connsiteY30" fmla="*/ 3512344 h 4581525"/>
              <a:gd name="connsiteX31" fmla="*/ 4579144 w 4581525"/>
              <a:gd name="connsiteY31" fmla="*/ 83344 h 4581525"/>
              <a:gd name="connsiteX32" fmla="*/ 4502944 w 4581525"/>
              <a:gd name="connsiteY32" fmla="*/ 7144 h 4581525"/>
              <a:gd name="connsiteX33" fmla="*/ 1493996 w 4581525"/>
              <a:gd name="connsiteY33" fmla="*/ 3893344 h 4581525"/>
              <a:gd name="connsiteX34" fmla="*/ 1587341 w 4581525"/>
              <a:gd name="connsiteY34" fmla="*/ 3588544 h 4581525"/>
              <a:gd name="connsiteX35" fmla="*/ 2998946 w 4581525"/>
              <a:gd name="connsiteY35" fmla="*/ 3588544 h 4581525"/>
              <a:gd name="connsiteX36" fmla="*/ 3092291 w 4581525"/>
              <a:gd name="connsiteY36" fmla="*/ 3893344 h 4581525"/>
              <a:gd name="connsiteX37" fmla="*/ 1493996 w 4581525"/>
              <a:gd name="connsiteY37" fmla="*/ 3893344 h 4581525"/>
              <a:gd name="connsiteX38" fmla="*/ 4426744 w 4581525"/>
              <a:gd name="connsiteY38" fmla="*/ 3436144 h 4581525"/>
              <a:gd name="connsiteX39" fmla="*/ 159544 w 4581525"/>
              <a:gd name="connsiteY39" fmla="*/ 3436144 h 4581525"/>
              <a:gd name="connsiteX40" fmla="*/ 159544 w 4581525"/>
              <a:gd name="connsiteY40" fmla="*/ 159544 h 4581525"/>
              <a:gd name="connsiteX41" fmla="*/ 4426744 w 4581525"/>
              <a:gd name="connsiteY41" fmla="*/ 159544 h 4581525"/>
              <a:gd name="connsiteX42" fmla="*/ 4426744 w 4581525"/>
              <a:gd name="connsiteY42" fmla="*/ 3436144 h 4581525"/>
              <a:gd name="connsiteX43" fmla="*/ 921544 w 4581525"/>
              <a:gd name="connsiteY43" fmla="*/ 2826544 h 4581525"/>
              <a:gd name="connsiteX44" fmla="*/ 616744 w 4581525"/>
              <a:gd name="connsiteY44" fmla="*/ 2826544 h 4581525"/>
              <a:gd name="connsiteX45" fmla="*/ 540544 w 4581525"/>
              <a:gd name="connsiteY45" fmla="*/ 2902744 h 4581525"/>
              <a:gd name="connsiteX46" fmla="*/ 540544 w 4581525"/>
              <a:gd name="connsiteY46" fmla="*/ 3207544 h 4581525"/>
              <a:gd name="connsiteX47" fmla="*/ 616744 w 4581525"/>
              <a:gd name="connsiteY47" fmla="*/ 3283744 h 4581525"/>
              <a:gd name="connsiteX48" fmla="*/ 921544 w 4581525"/>
              <a:gd name="connsiteY48" fmla="*/ 3283744 h 4581525"/>
              <a:gd name="connsiteX49" fmla="*/ 997744 w 4581525"/>
              <a:gd name="connsiteY49" fmla="*/ 3207544 h 4581525"/>
              <a:gd name="connsiteX50" fmla="*/ 997744 w 4581525"/>
              <a:gd name="connsiteY50" fmla="*/ 2902744 h 4581525"/>
              <a:gd name="connsiteX51" fmla="*/ 921544 w 4581525"/>
              <a:gd name="connsiteY51" fmla="*/ 2826544 h 4581525"/>
              <a:gd name="connsiteX52" fmla="*/ 845344 w 4581525"/>
              <a:gd name="connsiteY52" fmla="*/ 3131344 h 4581525"/>
              <a:gd name="connsiteX53" fmla="*/ 692944 w 4581525"/>
              <a:gd name="connsiteY53" fmla="*/ 3131344 h 4581525"/>
              <a:gd name="connsiteX54" fmla="*/ 692944 w 4581525"/>
              <a:gd name="connsiteY54" fmla="*/ 2978944 h 4581525"/>
              <a:gd name="connsiteX55" fmla="*/ 845344 w 4581525"/>
              <a:gd name="connsiteY55" fmla="*/ 2978944 h 4581525"/>
              <a:gd name="connsiteX56" fmla="*/ 845344 w 4581525"/>
              <a:gd name="connsiteY56" fmla="*/ 3131344 h 4581525"/>
              <a:gd name="connsiteX57" fmla="*/ 1683544 w 4581525"/>
              <a:gd name="connsiteY57" fmla="*/ 2674144 h 4581525"/>
              <a:gd name="connsiteX58" fmla="*/ 1378744 w 4581525"/>
              <a:gd name="connsiteY58" fmla="*/ 2674144 h 4581525"/>
              <a:gd name="connsiteX59" fmla="*/ 1302544 w 4581525"/>
              <a:gd name="connsiteY59" fmla="*/ 2750344 h 4581525"/>
              <a:gd name="connsiteX60" fmla="*/ 1302544 w 4581525"/>
              <a:gd name="connsiteY60" fmla="*/ 3207544 h 4581525"/>
              <a:gd name="connsiteX61" fmla="*/ 1378744 w 4581525"/>
              <a:gd name="connsiteY61" fmla="*/ 3283744 h 4581525"/>
              <a:gd name="connsiteX62" fmla="*/ 1683544 w 4581525"/>
              <a:gd name="connsiteY62" fmla="*/ 3283744 h 4581525"/>
              <a:gd name="connsiteX63" fmla="*/ 1759744 w 4581525"/>
              <a:gd name="connsiteY63" fmla="*/ 3207544 h 4581525"/>
              <a:gd name="connsiteX64" fmla="*/ 1759744 w 4581525"/>
              <a:gd name="connsiteY64" fmla="*/ 2750344 h 4581525"/>
              <a:gd name="connsiteX65" fmla="*/ 1683544 w 4581525"/>
              <a:gd name="connsiteY65" fmla="*/ 2674144 h 4581525"/>
              <a:gd name="connsiteX66" fmla="*/ 1607344 w 4581525"/>
              <a:gd name="connsiteY66" fmla="*/ 3131344 h 4581525"/>
              <a:gd name="connsiteX67" fmla="*/ 1454944 w 4581525"/>
              <a:gd name="connsiteY67" fmla="*/ 3131344 h 4581525"/>
              <a:gd name="connsiteX68" fmla="*/ 1454944 w 4581525"/>
              <a:gd name="connsiteY68" fmla="*/ 2826544 h 4581525"/>
              <a:gd name="connsiteX69" fmla="*/ 1607344 w 4581525"/>
              <a:gd name="connsiteY69" fmla="*/ 2826544 h 4581525"/>
              <a:gd name="connsiteX70" fmla="*/ 1607344 w 4581525"/>
              <a:gd name="connsiteY70" fmla="*/ 3131344 h 4581525"/>
              <a:gd name="connsiteX71" fmla="*/ 2445544 w 4581525"/>
              <a:gd name="connsiteY71" fmla="*/ 2369344 h 4581525"/>
              <a:gd name="connsiteX72" fmla="*/ 2140744 w 4581525"/>
              <a:gd name="connsiteY72" fmla="*/ 2369344 h 4581525"/>
              <a:gd name="connsiteX73" fmla="*/ 2064544 w 4581525"/>
              <a:gd name="connsiteY73" fmla="*/ 2445544 h 4581525"/>
              <a:gd name="connsiteX74" fmla="*/ 2064544 w 4581525"/>
              <a:gd name="connsiteY74" fmla="*/ 3207544 h 4581525"/>
              <a:gd name="connsiteX75" fmla="*/ 2140744 w 4581525"/>
              <a:gd name="connsiteY75" fmla="*/ 3283744 h 4581525"/>
              <a:gd name="connsiteX76" fmla="*/ 2445544 w 4581525"/>
              <a:gd name="connsiteY76" fmla="*/ 3283744 h 4581525"/>
              <a:gd name="connsiteX77" fmla="*/ 2521744 w 4581525"/>
              <a:gd name="connsiteY77" fmla="*/ 3207544 h 4581525"/>
              <a:gd name="connsiteX78" fmla="*/ 2521744 w 4581525"/>
              <a:gd name="connsiteY78" fmla="*/ 2445544 h 4581525"/>
              <a:gd name="connsiteX79" fmla="*/ 2445544 w 4581525"/>
              <a:gd name="connsiteY79" fmla="*/ 2369344 h 4581525"/>
              <a:gd name="connsiteX80" fmla="*/ 2369344 w 4581525"/>
              <a:gd name="connsiteY80" fmla="*/ 3131344 h 4581525"/>
              <a:gd name="connsiteX81" fmla="*/ 2216944 w 4581525"/>
              <a:gd name="connsiteY81" fmla="*/ 3131344 h 4581525"/>
              <a:gd name="connsiteX82" fmla="*/ 2216944 w 4581525"/>
              <a:gd name="connsiteY82" fmla="*/ 2521744 h 4581525"/>
              <a:gd name="connsiteX83" fmla="*/ 2369344 w 4581525"/>
              <a:gd name="connsiteY83" fmla="*/ 2521744 h 4581525"/>
              <a:gd name="connsiteX84" fmla="*/ 2369344 w 4581525"/>
              <a:gd name="connsiteY84" fmla="*/ 3131344 h 4581525"/>
              <a:gd name="connsiteX85" fmla="*/ 3207544 w 4581525"/>
              <a:gd name="connsiteY85" fmla="*/ 1912144 h 4581525"/>
              <a:gd name="connsiteX86" fmla="*/ 2902744 w 4581525"/>
              <a:gd name="connsiteY86" fmla="*/ 1912144 h 4581525"/>
              <a:gd name="connsiteX87" fmla="*/ 2826544 w 4581525"/>
              <a:gd name="connsiteY87" fmla="*/ 1988344 h 4581525"/>
              <a:gd name="connsiteX88" fmla="*/ 2826544 w 4581525"/>
              <a:gd name="connsiteY88" fmla="*/ 3207544 h 4581525"/>
              <a:gd name="connsiteX89" fmla="*/ 2902744 w 4581525"/>
              <a:gd name="connsiteY89" fmla="*/ 3283744 h 4581525"/>
              <a:gd name="connsiteX90" fmla="*/ 3207544 w 4581525"/>
              <a:gd name="connsiteY90" fmla="*/ 3283744 h 4581525"/>
              <a:gd name="connsiteX91" fmla="*/ 3283744 w 4581525"/>
              <a:gd name="connsiteY91" fmla="*/ 3207544 h 4581525"/>
              <a:gd name="connsiteX92" fmla="*/ 3283744 w 4581525"/>
              <a:gd name="connsiteY92" fmla="*/ 1988344 h 4581525"/>
              <a:gd name="connsiteX93" fmla="*/ 3207544 w 4581525"/>
              <a:gd name="connsiteY93" fmla="*/ 1912144 h 4581525"/>
              <a:gd name="connsiteX94" fmla="*/ 3131344 w 4581525"/>
              <a:gd name="connsiteY94" fmla="*/ 3131344 h 4581525"/>
              <a:gd name="connsiteX95" fmla="*/ 2978944 w 4581525"/>
              <a:gd name="connsiteY95" fmla="*/ 3131344 h 4581525"/>
              <a:gd name="connsiteX96" fmla="*/ 2978944 w 4581525"/>
              <a:gd name="connsiteY96" fmla="*/ 2064544 h 4581525"/>
              <a:gd name="connsiteX97" fmla="*/ 3131344 w 4581525"/>
              <a:gd name="connsiteY97" fmla="*/ 2064544 h 4581525"/>
              <a:gd name="connsiteX98" fmla="*/ 3131344 w 4581525"/>
              <a:gd name="connsiteY98" fmla="*/ 3131344 h 4581525"/>
              <a:gd name="connsiteX99" fmla="*/ 3969544 w 4581525"/>
              <a:gd name="connsiteY99" fmla="*/ 1073944 h 4581525"/>
              <a:gd name="connsiteX100" fmla="*/ 3664744 w 4581525"/>
              <a:gd name="connsiteY100" fmla="*/ 1073944 h 4581525"/>
              <a:gd name="connsiteX101" fmla="*/ 3588544 w 4581525"/>
              <a:gd name="connsiteY101" fmla="*/ 1150144 h 4581525"/>
              <a:gd name="connsiteX102" fmla="*/ 3588544 w 4581525"/>
              <a:gd name="connsiteY102" fmla="*/ 3207544 h 4581525"/>
              <a:gd name="connsiteX103" fmla="*/ 3664744 w 4581525"/>
              <a:gd name="connsiteY103" fmla="*/ 3283744 h 4581525"/>
              <a:gd name="connsiteX104" fmla="*/ 3969544 w 4581525"/>
              <a:gd name="connsiteY104" fmla="*/ 3283744 h 4581525"/>
              <a:gd name="connsiteX105" fmla="*/ 4045744 w 4581525"/>
              <a:gd name="connsiteY105" fmla="*/ 3207544 h 4581525"/>
              <a:gd name="connsiteX106" fmla="*/ 4045744 w 4581525"/>
              <a:gd name="connsiteY106" fmla="*/ 1150144 h 4581525"/>
              <a:gd name="connsiteX107" fmla="*/ 3969544 w 4581525"/>
              <a:gd name="connsiteY107" fmla="*/ 1073944 h 4581525"/>
              <a:gd name="connsiteX108" fmla="*/ 3893344 w 4581525"/>
              <a:gd name="connsiteY108" fmla="*/ 3131344 h 4581525"/>
              <a:gd name="connsiteX109" fmla="*/ 3740944 w 4581525"/>
              <a:gd name="connsiteY109" fmla="*/ 3131344 h 4581525"/>
              <a:gd name="connsiteX110" fmla="*/ 3740944 w 4581525"/>
              <a:gd name="connsiteY110" fmla="*/ 1226344 h 4581525"/>
              <a:gd name="connsiteX111" fmla="*/ 3893344 w 4581525"/>
              <a:gd name="connsiteY111" fmla="*/ 1226344 h 4581525"/>
              <a:gd name="connsiteX112" fmla="*/ 3893344 w 4581525"/>
              <a:gd name="connsiteY112" fmla="*/ 3131344 h 458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581525" h="4581525">
                <a:moveTo>
                  <a:pt x="4041934" y="821531"/>
                </a:moveTo>
                <a:lnTo>
                  <a:pt x="3889534" y="364331"/>
                </a:lnTo>
                <a:cubicBezTo>
                  <a:pt x="3876199" y="324326"/>
                  <a:pt x="3833336" y="302419"/>
                  <a:pt x="3793331" y="315754"/>
                </a:cubicBezTo>
                <a:cubicBezTo>
                  <a:pt x="3789521" y="316706"/>
                  <a:pt x="3786664" y="318611"/>
                  <a:pt x="3782854" y="320516"/>
                </a:cubicBezTo>
                <a:lnTo>
                  <a:pt x="3325654" y="549116"/>
                </a:lnTo>
                <a:cubicBezTo>
                  <a:pt x="3287554" y="568166"/>
                  <a:pt x="3272314" y="613886"/>
                  <a:pt x="3291364" y="651034"/>
                </a:cubicBezTo>
                <a:cubicBezTo>
                  <a:pt x="3310414" y="688181"/>
                  <a:pt x="3356134" y="704374"/>
                  <a:pt x="3393281" y="685324"/>
                </a:cubicBezTo>
                <a:lnTo>
                  <a:pt x="3641884" y="560546"/>
                </a:lnTo>
                <a:cubicBezTo>
                  <a:pt x="2987516" y="1758791"/>
                  <a:pt x="1792129" y="2521744"/>
                  <a:pt x="540544" y="2521744"/>
                </a:cubicBezTo>
                <a:lnTo>
                  <a:pt x="540544" y="2674144"/>
                </a:lnTo>
                <a:cubicBezTo>
                  <a:pt x="1864519" y="2674144"/>
                  <a:pt x="3126581" y="1859756"/>
                  <a:pt x="3802856" y="585311"/>
                </a:cubicBezTo>
                <a:lnTo>
                  <a:pt x="3897154" y="869156"/>
                </a:lnTo>
                <a:cubicBezTo>
                  <a:pt x="3910489" y="909161"/>
                  <a:pt x="3953351" y="931069"/>
                  <a:pt x="3993356" y="917734"/>
                </a:cubicBezTo>
                <a:cubicBezTo>
                  <a:pt x="4033361" y="904399"/>
                  <a:pt x="4055269" y="861536"/>
                  <a:pt x="4041934" y="821531"/>
                </a:cubicBezTo>
                <a:close/>
                <a:moveTo>
                  <a:pt x="4502944" y="7144"/>
                </a:moveTo>
                <a:lnTo>
                  <a:pt x="83344" y="7144"/>
                </a:lnTo>
                <a:cubicBezTo>
                  <a:pt x="41434" y="7144"/>
                  <a:pt x="7144" y="41434"/>
                  <a:pt x="7144" y="83344"/>
                </a:cubicBezTo>
                <a:lnTo>
                  <a:pt x="7144" y="3512344"/>
                </a:lnTo>
                <a:cubicBezTo>
                  <a:pt x="7144" y="3554254"/>
                  <a:pt x="41434" y="3588544"/>
                  <a:pt x="83344" y="3588544"/>
                </a:cubicBezTo>
                <a:lnTo>
                  <a:pt x="1428274" y="3588544"/>
                </a:lnTo>
                <a:lnTo>
                  <a:pt x="1153954" y="4480084"/>
                </a:lnTo>
                <a:cubicBezTo>
                  <a:pt x="1141571" y="4520089"/>
                  <a:pt x="1164431" y="4562951"/>
                  <a:pt x="1204436" y="4575334"/>
                </a:cubicBezTo>
                <a:cubicBezTo>
                  <a:pt x="1244441" y="4587716"/>
                  <a:pt x="1287304" y="4564856"/>
                  <a:pt x="1299686" y="4524851"/>
                </a:cubicBezTo>
                <a:lnTo>
                  <a:pt x="1447324" y="4044791"/>
                </a:lnTo>
                <a:lnTo>
                  <a:pt x="3139916" y="4044791"/>
                </a:lnTo>
                <a:lnTo>
                  <a:pt x="3287554" y="4524851"/>
                </a:lnTo>
                <a:cubicBezTo>
                  <a:pt x="3299936" y="4564856"/>
                  <a:pt x="3342799" y="4587716"/>
                  <a:pt x="3382804" y="4575334"/>
                </a:cubicBezTo>
                <a:cubicBezTo>
                  <a:pt x="3422809" y="4562951"/>
                  <a:pt x="3445669" y="4520089"/>
                  <a:pt x="3433286" y="4480084"/>
                </a:cubicBezTo>
                <a:lnTo>
                  <a:pt x="3158014" y="3588544"/>
                </a:lnTo>
                <a:lnTo>
                  <a:pt x="4502944" y="3588544"/>
                </a:lnTo>
                <a:cubicBezTo>
                  <a:pt x="4544854" y="3588544"/>
                  <a:pt x="4579144" y="3554254"/>
                  <a:pt x="4579144" y="3512344"/>
                </a:cubicBezTo>
                <a:lnTo>
                  <a:pt x="4579144" y="83344"/>
                </a:lnTo>
                <a:cubicBezTo>
                  <a:pt x="4579144" y="41434"/>
                  <a:pt x="4544854" y="7144"/>
                  <a:pt x="4502944" y="7144"/>
                </a:cubicBezTo>
                <a:close/>
                <a:moveTo>
                  <a:pt x="1493996" y="3893344"/>
                </a:moveTo>
                <a:lnTo>
                  <a:pt x="1587341" y="3588544"/>
                </a:lnTo>
                <a:lnTo>
                  <a:pt x="2998946" y="3588544"/>
                </a:lnTo>
                <a:lnTo>
                  <a:pt x="3092291" y="3893344"/>
                </a:lnTo>
                <a:lnTo>
                  <a:pt x="1493996" y="3893344"/>
                </a:lnTo>
                <a:close/>
                <a:moveTo>
                  <a:pt x="4426744" y="3436144"/>
                </a:moveTo>
                <a:lnTo>
                  <a:pt x="159544" y="3436144"/>
                </a:lnTo>
                <a:lnTo>
                  <a:pt x="159544" y="159544"/>
                </a:lnTo>
                <a:lnTo>
                  <a:pt x="4426744" y="159544"/>
                </a:lnTo>
                <a:lnTo>
                  <a:pt x="4426744" y="3436144"/>
                </a:lnTo>
                <a:close/>
                <a:moveTo>
                  <a:pt x="921544" y="2826544"/>
                </a:moveTo>
                <a:lnTo>
                  <a:pt x="616744" y="2826544"/>
                </a:lnTo>
                <a:cubicBezTo>
                  <a:pt x="574834" y="2826544"/>
                  <a:pt x="540544" y="2860834"/>
                  <a:pt x="540544" y="2902744"/>
                </a:cubicBezTo>
                <a:lnTo>
                  <a:pt x="540544" y="3207544"/>
                </a:lnTo>
                <a:cubicBezTo>
                  <a:pt x="540544" y="3249454"/>
                  <a:pt x="574834" y="3283744"/>
                  <a:pt x="616744" y="3283744"/>
                </a:cubicBezTo>
                <a:lnTo>
                  <a:pt x="921544" y="3283744"/>
                </a:lnTo>
                <a:cubicBezTo>
                  <a:pt x="963454" y="3283744"/>
                  <a:pt x="997744" y="3249454"/>
                  <a:pt x="997744" y="3207544"/>
                </a:cubicBezTo>
                <a:lnTo>
                  <a:pt x="997744" y="2902744"/>
                </a:lnTo>
                <a:cubicBezTo>
                  <a:pt x="997744" y="2860834"/>
                  <a:pt x="963454" y="2826544"/>
                  <a:pt x="921544" y="2826544"/>
                </a:cubicBezTo>
                <a:close/>
                <a:moveTo>
                  <a:pt x="845344" y="3131344"/>
                </a:moveTo>
                <a:lnTo>
                  <a:pt x="692944" y="3131344"/>
                </a:lnTo>
                <a:lnTo>
                  <a:pt x="692944" y="2978944"/>
                </a:lnTo>
                <a:lnTo>
                  <a:pt x="845344" y="2978944"/>
                </a:lnTo>
                <a:lnTo>
                  <a:pt x="845344" y="3131344"/>
                </a:lnTo>
                <a:close/>
                <a:moveTo>
                  <a:pt x="1683544" y="2674144"/>
                </a:moveTo>
                <a:lnTo>
                  <a:pt x="1378744" y="2674144"/>
                </a:lnTo>
                <a:cubicBezTo>
                  <a:pt x="1336834" y="2674144"/>
                  <a:pt x="1302544" y="2708434"/>
                  <a:pt x="1302544" y="2750344"/>
                </a:cubicBezTo>
                <a:lnTo>
                  <a:pt x="1302544" y="3207544"/>
                </a:lnTo>
                <a:cubicBezTo>
                  <a:pt x="1302544" y="3249454"/>
                  <a:pt x="1336834" y="3283744"/>
                  <a:pt x="1378744" y="3283744"/>
                </a:cubicBezTo>
                <a:lnTo>
                  <a:pt x="1683544" y="3283744"/>
                </a:lnTo>
                <a:cubicBezTo>
                  <a:pt x="1725454" y="3283744"/>
                  <a:pt x="1759744" y="3249454"/>
                  <a:pt x="1759744" y="3207544"/>
                </a:cubicBezTo>
                <a:lnTo>
                  <a:pt x="1759744" y="2750344"/>
                </a:lnTo>
                <a:cubicBezTo>
                  <a:pt x="1759744" y="2708434"/>
                  <a:pt x="1725454" y="2674144"/>
                  <a:pt x="1683544" y="2674144"/>
                </a:cubicBezTo>
                <a:close/>
                <a:moveTo>
                  <a:pt x="1607344" y="3131344"/>
                </a:moveTo>
                <a:lnTo>
                  <a:pt x="1454944" y="3131344"/>
                </a:lnTo>
                <a:lnTo>
                  <a:pt x="1454944" y="2826544"/>
                </a:lnTo>
                <a:lnTo>
                  <a:pt x="1607344" y="2826544"/>
                </a:lnTo>
                <a:lnTo>
                  <a:pt x="1607344" y="3131344"/>
                </a:lnTo>
                <a:close/>
                <a:moveTo>
                  <a:pt x="2445544" y="2369344"/>
                </a:moveTo>
                <a:lnTo>
                  <a:pt x="2140744" y="2369344"/>
                </a:lnTo>
                <a:cubicBezTo>
                  <a:pt x="2098834" y="2369344"/>
                  <a:pt x="2064544" y="2403634"/>
                  <a:pt x="2064544" y="2445544"/>
                </a:cubicBezTo>
                <a:lnTo>
                  <a:pt x="2064544" y="3207544"/>
                </a:lnTo>
                <a:cubicBezTo>
                  <a:pt x="2064544" y="3249454"/>
                  <a:pt x="2098834" y="3283744"/>
                  <a:pt x="2140744" y="3283744"/>
                </a:cubicBezTo>
                <a:lnTo>
                  <a:pt x="2445544" y="3283744"/>
                </a:lnTo>
                <a:cubicBezTo>
                  <a:pt x="2487454" y="3283744"/>
                  <a:pt x="2521744" y="3249454"/>
                  <a:pt x="2521744" y="3207544"/>
                </a:cubicBezTo>
                <a:lnTo>
                  <a:pt x="2521744" y="2445544"/>
                </a:lnTo>
                <a:cubicBezTo>
                  <a:pt x="2521744" y="2403634"/>
                  <a:pt x="2487454" y="2369344"/>
                  <a:pt x="2445544" y="2369344"/>
                </a:cubicBezTo>
                <a:close/>
                <a:moveTo>
                  <a:pt x="2369344" y="3131344"/>
                </a:moveTo>
                <a:lnTo>
                  <a:pt x="2216944" y="3131344"/>
                </a:lnTo>
                <a:lnTo>
                  <a:pt x="2216944" y="2521744"/>
                </a:lnTo>
                <a:lnTo>
                  <a:pt x="2369344" y="2521744"/>
                </a:lnTo>
                <a:lnTo>
                  <a:pt x="2369344" y="3131344"/>
                </a:lnTo>
                <a:close/>
                <a:moveTo>
                  <a:pt x="3207544" y="1912144"/>
                </a:moveTo>
                <a:lnTo>
                  <a:pt x="2902744" y="1912144"/>
                </a:lnTo>
                <a:cubicBezTo>
                  <a:pt x="2860834" y="1912144"/>
                  <a:pt x="2826544" y="1946434"/>
                  <a:pt x="2826544" y="1988344"/>
                </a:cubicBezTo>
                <a:lnTo>
                  <a:pt x="2826544" y="3207544"/>
                </a:lnTo>
                <a:cubicBezTo>
                  <a:pt x="2826544" y="3249454"/>
                  <a:pt x="2860834" y="3283744"/>
                  <a:pt x="2902744" y="3283744"/>
                </a:cubicBezTo>
                <a:lnTo>
                  <a:pt x="3207544" y="3283744"/>
                </a:lnTo>
                <a:cubicBezTo>
                  <a:pt x="3249454" y="3283744"/>
                  <a:pt x="3283744" y="3249454"/>
                  <a:pt x="3283744" y="3207544"/>
                </a:cubicBezTo>
                <a:lnTo>
                  <a:pt x="3283744" y="1988344"/>
                </a:lnTo>
                <a:cubicBezTo>
                  <a:pt x="3283744" y="1946434"/>
                  <a:pt x="3249454" y="1912144"/>
                  <a:pt x="3207544" y="1912144"/>
                </a:cubicBezTo>
                <a:close/>
                <a:moveTo>
                  <a:pt x="3131344" y="3131344"/>
                </a:moveTo>
                <a:lnTo>
                  <a:pt x="2978944" y="3131344"/>
                </a:lnTo>
                <a:lnTo>
                  <a:pt x="2978944" y="2064544"/>
                </a:lnTo>
                <a:lnTo>
                  <a:pt x="3131344" y="2064544"/>
                </a:lnTo>
                <a:lnTo>
                  <a:pt x="3131344" y="3131344"/>
                </a:lnTo>
                <a:close/>
                <a:moveTo>
                  <a:pt x="3969544" y="1073944"/>
                </a:moveTo>
                <a:lnTo>
                  <a:pt x="3664744" y="1073944"/>
                </a:lnTo>
                <a:cubicBezTo>
                  <a:pt x="3622834" y="1073944"/>
                  <a:pt x="3588544" y="1108234"/>
                  <a:pt x="3588544" y="1150144"/>
                </a:cubicBezTo>
                <a:lnTo>
                  <a:pt x="3588544" y="3207544"/>
                </a:lnTo>
                <a:cubicBezTo>
                  <a:pt x="3588544" y="3249454"/>
                  <a:pt x="3622834" y="3283744"/>
                  <a:pt x="3664744" y="3283744"/>
                </a:cubicBezTo>
                <a:lnTo>
                  <a:pt x="3969544" y="3283744"/>
                </a:lnTo>
                <a:cubicBezTo>
                  <a:pt x="4011454" y="3283744"/>
                  <a:pt x="4045744" y="3249454"/>
                  <a:pt x="4045744" y="3207544"/>
                </a:cubicBezTo>
                <a:lnTo>
                  <a:pt x="4045744" y="1150144"/>
                </a:lnTo>
                <a:cubicBezTo>
                  <a:pt x="4045744" y="1108234"/>
                  <a:pt x="4011454" y="1073944"/>
                  <a:pt x="3969544" y="1073944"/>
                </a:cubicBezTo>
                <a:close/>
                <a:moveTo>
                  <a:pt x="3893344" y="3131344"/>
                </a:moveTo>
                <a:lnTo>
                  <a:pt x="3740944" y="3131344"/>
                </a:lnTo>
                <a:lnTo>
                  <a:pt x="3740944" y="1226344"/>
                </a:lnTo>
                <a:lnTo>
                  <a:pt x="3893344" y="1226344"/>
                </a:lnTo>
                <a:lnTo>
                  <a:pt x="3893344" y="3131344"/>
                </a:lnTo>
                <a:close/>
              </a:path>
            </a:pathLst>
          </a:custGeom>
          <a:solidFill>
            <a:srgbClr val="000000"/>
          </a:solidFill>
          <a:ln w="9525" cap="flat">
            <a:noFill/>
            <a:prstDash val="solid"/>
            <a:miter/>
          </a:ln>
        </p:spPr>
        <p:txBody>
          <a:bodyPr rtlCol="0" anchor="ctr"/>
          <a:lstStyle/>
          <a:p>
            <a:endParaRPr lang="sr-Latn-RS" sz="2400"/>
          </a:p>
        </p:txBody>
      </p:sp>
      <p:sp>
        <p:nvSpPr>
          <p:cNvPr id="15" name="TextBox 14">
            <a:extLst>
              <a:ext uri="{FF2B5EF4-FFF2-40B4-BE49-F238E27FC236}">
                <a16:creationId xmlns:a16="http://schemas.microsoft.com/office/drawing/2014/main" id="{8FB1C862-75F6-4E6B-8F2A-4820E8E2C017}"/>
              </a:ext>
            </a:extLst>
          </p:cNvPr>
          <p:cNvSpPr txBox="1"/>
          <p:nvPr/>
        </p:nvSpPr>
        <p:spPr>
          <a:xfrm>
            <a:off x="9247094" y="803102"/>
            <a:ext cx="2077002" cy="600164"/>
          </a:xfrm>
          <a:prstGeom prst="rect">
            <a:avLst/>
          </a:prstGeom>
          <a:noFill/>
        </p:spPr>
        <p:txBody>
          <a:bodyPr wrap="square">
            <a:spAutoFit/>
          </a:bodyPr>
          <a:lstStyle/>
          <a:p>
            <a:pPr lvl="2"/>
            <a:r>
              <a:rPr lang="en-US" sz="1100" i="1" dirty="0"/>
              <a:t>“</a:t>
            </a:r>
            <a:r>
              <a:rPr lang="en-US" sz="1100" i="1" u="sng" dirty="0"/>
              <a:t>improve the activities and processes</a:t>
            </a:r>
            <a:r>
              <a:rPr lang="en-US" sz="1100" i="1" dirty="0"/>
              <a:t>”</a:t>
            </a:r>
            <a:endParaRPr lang="en-US" sz="1100" dirty="0"/>
          </a:p>
        </p:txBody>
      </p:sp>
    </p:spTree>
    <p:extLst>
      <p:ext uri="{BB962C8B-B14F-4D97-AF65-F5344CB8AC3E}">
        <p14:creationId xmlns:p14="http://schemas.microsoft.com/office/powerpoint/2010/main" val="4146685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C9E12E-B644-483D-91C0-391C4A70895D}"/>
              </a:ext>
            </a:extLst>
          </p:cNvPr>
          <p:cNvSpPr>
            <a:spLocks noGrp="1"/>
          </p:cNvSpPr>
          <p:nvPr>
            <p:ph type="title"/>
          </p:nvPr>
        </p:nvSpPr>
        <p:spPr/>
        <p:txBody>
          <a:bodyPr/>
          <a:lstStyle/>
          <a:p>
            <a:r>
              <a:rPr lang="en-US" dirty="0"/>
              <a:t>D1.3 Improving a CCN pilot</a:t>
            </a:r>
            <a:br>
              <a:rPr lang="en-US" dirty="0"/>
            </a:br>
            <a:r>
              <a:rPr lang="en-US" dirty="0">
                <a:solidFill>
                  <a:schemeClr val="accent1"/>
                </a:solidFill>
              </a:rPr>
              <a:t>3.2 Transversal activities</a:t>
            </a:r>
            <a:br>
              <a:rPr lang="en-US" dirty="0">
                <a:solidFill>
                  <a:schemeClr val="accent1"/>
                </a:solidFill>
              </a:rPr>
            </a:br>
            <a:endParaRPr lang="en-US" dirty="0">
              <a:solidFill>
                <a:schemeClr val="accent1"/>
              </a:solidFill>
            </a:endParaRPr>
          </a:p>
        </p:txBody>
      </p:sp>
      <p:sp>
        <p:nvSpPr>
          <p:cNvPr id="16" name="Content Placeholder 4">
            <a:extLst>
              <a:ext uri="{FF2B5EF4-FFF2-40B4-BE49-F238E27FC236}">
                <a16:creationId xmlns:a16="http://schemas.microsoft.com/office/drawing/2014/main" id="{91BEEB64-9327-4F4C-BAA0-3A53ADC179D5}"/>
              </a:ext>
            </a:extLst>
          </p:cNvPr>
          <p:cNvSpPr txBox="1">
            <a:spLocks/>
          </p:cNvSpPr>
          <p:nvPr/>
        </p:nvSpPr>
        <p:spPr>
          <a:xfrm>
            <a:off x="578840" y="1442904"/>
            <a:ext cx="10089160" cy="4926617"/>
          </a:xfrm>
          <a:prstGeom prst="rect">
            <a:avLst/>
          </a:prstGeom>
        </p:spPr>
        <p:txBody>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cap="all" dirty="0">
                <a:solidFill>
                  <a:schemeClr val="tx1">
                    <a:lumMod val="75000"/>
                    <a:lumOff val="25000"/>
                  </a:schemeClr>
                </a:solidFill>
                <a:latin typeface="+mj-lt"/>
                <a:ea typeface="+mj-ea"/>
                <a:cs typeface="+mj-cs"/>
              </a:rPr>
              <a:t>WP9 Cybersecurity training and awareness (BUT, Jan)</a:t>
            </a:r>
          </a:p>
          <a:p>
            <a:pPr lvl="1"/>
            <a:endParaRPr lang="en-US" b="1" dirty="0"/>
          </a:p>
          <a:p>
            <a:pPr lvl="1"/>
            <a:r>
              <a:rPr lang="en-US" b="1" dirty="0"/>
              <a:t>Year 1 bootstrapping</a:t>
            </a:r>
          </a:p>
          <a:p>
            <a:pPr lvl="1"/>
            <a:r>
              <a:rPr lang="en-US" b="1" dirty="0"/>
              <a:t>Initiatives + Recommendations (D1.2)</a:t>
            </a:r>
          </a:p>
          <a:p>
            <a:pPr lvl="1"/>
            <a:r>
              <a:rPr lang="en-US" b="1" dirty="0"/>
              <a:t>Year 2</a:t>
            </a:r>
          </a:p>
          <a:p>
            <a:pPr lvl="2"/>
            <a:r>
              <a:rPr lang="en-US" dirty="0"/>
              <a:t>Report on improvements to the activities and processes</a:t>
            </a:r>
          </a:p>
          <a:p>
            <a:pPr lvl="2"/>
            <a:r>
              <a:rPr lang="en-US" dirty="0"/>
              <a:t>Risks: all considered relevant</a:t>
            </a:r>
          </a:p>
          <a:p>
            <a:pPr lvl="3"/>
            <a:r>
              <a:rPr lang="en-US" dirty="0"/>
              <a:t>Mitigate risks that materialized</a:t>
            </a:r>
          </a:p>
          <a:p>
            <a:pPr lvl="4"/>
            <a:r>
              <a:rPr lang="en-US" dirty="0"/>
              <a:t>Lack of cooperation from some WP9 partners</a:t>
            </a:r>
          </a:p>
          <a:p>
            <a:pPr lvl="3"/>
            <a:endParaRPr lang="en-US" dirty="0"/>
          </a:p>
          <a:p>
            <a:pPr marL="0" indent="0">
              <a:buNone/>
            </a:pPr>
            <a:endParaRPr lang="en-US" dirty="0"/>
          </a:p>
        </p:txBody>
      </p:sp>
      <p:pic>
        <p:nvPicPr>
          <p:cNvPr id="5" name="Picture 4">
            <a:extLst>
              <a:ext uri="{FF2B5EF4-FFF2-40B4-BE49-F238E27FC236}">
                <a16:creationId xmlns:a16="http://schemas.microsoft.com/office/drawing/2014/main" id="{7D2E2237-8639-4C22-A90B-28335F62B041}"/>
              </a:ext>
            </a:extLst>
          </p:cNvPr>
          <p:cNvPicPr>
            <a:picLocks noChangeAspect="1"/>
          </p:cNvPicPr>
          <p:nvPr/>
        </p:nvPicPr>
        <p:blipFill rotWithShape="1">
          <a:blip r:embed="rId2"/>
          <a:srcRect l="28816" t="10352" r="40197" b="64754"/>
          <a:stretch/>
        </p:blipFill>
        <p:spPr>
          <a:xfrm>
            <a:off x="7507941" y="239028"/>
            <a:ext cx="2398793" cy="1048871"/>
          </a:xfrm>
          <a:prstGeom prst="rect">
            <a:avLst/>
          </a:prstGeom>
          <a:ln w="31750">
            <a:solidFill>
              <a:schemeClr val="accent1"/>
            </a:solidFill>
          </a:ln>
        </p:spPr>
      </p:pic>
      <p:sp>
        <p:nvSpPr>
          <p:cNvPr id="13" name="Freeform: Shape 12">
            <a:extLst>
              <a:ext uri="{FF2B5EF4-FFF2-40B4-BE49-F238E27FC236}">
                <a16:creationId xmlns:a16="http://schemas.microsoft.com/office/drawing/2014/main" id="{E73FE964-9788-497D-A4D0-397B86C68CDD}"/>
              </a:ext>
            </a:extLst>
          </p:cNvPr>
          <p:cNvSpPr>
            <a:spLocks noChangeAspect="1"/>
          </p:cNvSpPr>
          <p:nvPr/>
        </p:nvSpPr>
        <p:spPr>
          <a:xfrm>
            <a:off x="10356000" y="198646"/>
            <a:ext cx="624000" cy="624000"/>
          </a:xfrm>
          <a:custGeom>
            <a:avLst/>
            <a:gdLst>
              <a:gd name="connsiteX0" fmla="*/ 4041934 w 4581525"/>
              <a:gd name="connsiteY0" fmla="*/ 821531 h 4581525"/>
              <a:gd name="connsiteX1" fmla="*/ 3889534 w 4581525"/>
              <a:gd name="connsiteY1" fmla="*/ 364331 h 4581525"/>
              <a:gd name="connsiteX2" fmla="*/ 3793331 w 4581525"/>
              <a:gd name="connsiteY2" fmla="*/ 315754 h 4581525"/>
              <a:gd name="connsiteX3" fmla="*/ 3782854 w 4581525"/>
              <a:gd name="connsiteY3" fmla="*/ 320516 h 4581525"/>
              <a:gd name="connsiteX4" fmla="*/ 3325654 w 4581525"/>
              <a:gd name="connsiteY4" fmla="*/ 549116 h 4581525"/>
              <a:gd name="connsiteX5" fmla="*/ 3291364 w 4581525"/>
              <a:gd name="connsiteY5" fmla="*/ 651034 h 4581525"/>
              <a:gd name="connsiteX6" fmla="*/ 3393281 w 4581525"/>
              <a:gd name="connsiteY6" fmla="*/ 685324 h 4581525"/>
              <a:gd name="connsiteX7" fmla="*/ 3641884 w 4581525"/>
              <a:gd name="connsiteY7" fmla="*/ 560546 h 4581525"/>
              <a:gd name="connsiteX8" fmla="*/ 540544 w 4581525"/>
              <a:gd name="connsiteY8" fmla="*/ 2521744 h 4581525"/>
              <a:gd name="connsiteX9" fmla="*/ 540544 w 4581525"/>
              <a:gd name="connsiteY9" fmla="*/ 2674144 h 4581525"/>
              <a:gd name="connsiteX10" fmla="*/ 3802856 w 4581525"/>
              <a:gd name="connsiteY10" fmla="*/ 585311 h 4581525"/>
              <a:gd name="connsiteX11" fmla="*/ 3897154 w 4581525"/>
              <a:gd name="connsiteY11" fmla="*/ 869156 h 4581525"/>
              <a:gd name="connsiteX12" fmla="*/ 3993356 w 4581525"/>
              <a:gd name="connsiteY12" fmla="*/ 917734 h 4581525"/>
              <a:gd name="connsiteX13" fmla="*/ 4041934 w 4581525"/>
              <a:gd name="connsiteY13" fmla="*/ 821531 h 4581525"/>
              <a:gd name="connsiteX14" fmla="*/ 4502944 w 4581525"/>
              <a:gd name="connsiteY14" fmla="*/ 7144 h 4581525"/>
              <a:gd name="connsiteX15" fmla="*/ 83344 w 4581525"/>
              <a:gd name="connsiteY15" fmla="*/ 7144 h 4581525"/>
              <a:gd name="connsiteX16" fmla="*/ 7144 w 4581525"/>
              <a:gd name="connsiteY16" fmla="*/ 83344 h 4581525"/>
              <a:gd name="connsiteX17" fmla="*/ 7144 w 4581525"/>
              <a:gd name="connsiteY17" fmla="*/ 3512344 h 4581525"/>
              <a:gd name="connsiteX18" fmla="*/ 83344 w 4581525"/>
              <a:gd name="connsiteY18" fmla="*/ 3588544 h 4581525"/>
              <a:gd name="connsiteX19" fmla="*/ 1428274 w 4581525"/>
              <a:gd name="connsiteY19" fmla="*/ 3588544 h 4581525"/>
              <a:gd name="connsiteX20" fmla="*/ 1153954 w 4581525"/>
              <a:gd name="connsiteY20" fmla="*/ 4480084 h 4581525"/>
              <a:gd name="connsiteX21" fmla="*/ 1204436 w 4581525"/>
              <a:gd name="connsiteY21" fmla="*/ 4575334 h 4581525"/>
              <a:gd name="connsiteX22" fmla="*/ 1299686 w 4581525"/>
              <a:gd name="connsiteY22" fmla="*/ 4524851 h 4581525"/>
              <a:gd name="connsiteX23" fmla="*/ 1447324 w 4581525"/>
              <a:gd name="connsiteY23" fmla="*/ 4044791 h 4581525"/>
              <a:gd name="connsiteX24" fmla="*/ 3139916 w 4581525"/>
              <a:gd name="connsiteY24" fmla="*/ 4044791 h 4581525"/>
              <a:gd name="connsiteX25" fmla="*/ 3287554 w 4581525"/>
              <a:gd name="connsiteY25" fmla="*/ 4524851 h 4581525"/>
              <a:gd name="connsiteX26" fmla="*/ 3382804 w 4581525"/>
              <a:gd name="connsiteY26" fmla="*/ 4575334 h 4581525"/>
              <a:gd name="connsiteX27" fmla="*/ 3433286 w 4581525"/>
              <a:gd name="connsiteY27" fmla="*/ 4480084 h 4581525"/>
              <a:gd name="connsiteX28" fmla="*/ 3158014 w 4581525"/>
              <a:gd name="connsiteY28" fmla="*/ 3588544 h 4581525"/>
              <a:gd name="connsiteX29" fmla="*/ 4502944 w 4581525"/>
              <a:gd name="connsiteY29" fmla="*/ 3588544 h 4581525"/>
              <a:gd name="connsiteX30" fmla="*/ 4579144 w 4581525"/>
              <a:gd name="connsiteY30" fmla="*/ 3512344 h 4581525"/>
              <a:gd name="connsiteX31" fmla="*/ 4579144 w 4581525"/>
              <a:gd name="connsiteY31" fmla="*/ 83344 h 4581525"/>
              <a:gd name="connsiteX32" fmla="*/ 4502944 w 4581525"/>
              <a:gd name="connsiteY32" fmla="*/ 7144 h 4581525"/>
              <a:gd name="connsiteX33" fmla="*/ 1493996 w 4581525"/>
              <a:gd name="connsiteY33" fmla="*/ 3893344 h 4581525"/>
              <a:gd name="connsiteX34" fmla="*/ 1587341 w 4581525"/>
              <a:gd name="connsiteY34" fmla="*/ 3588544 h 4581525"/>
              <a:gd name="connsiteX35" fmla="*/ 2998946 w 4581525"/>
              <a:gd name="connsiteY35" fmla="*/ 3588544 h 4581525"/>
              <a:gd name="connsiteX36" fmla="*/ 3092291 w 4581525"/>
              <a:gd name="connsiteY36" fmla="*/ 3893344 h 4581525"/>
              <a:gd name="connsiteX37" fmla="*/ 1493996 w 4581525"/>
              <a:gd name="connsiteY37" fmla="*/ 3893344 h 4581525"/>
              <a:gd name="connsiteX38" fmla="*/ 4426744 w 4581525"/>
              <a:gd name="connsiteY38" fmla="*/ 3436144 h 4581525"/>
              <a:gd name="connsiteX39" fmla="*/ 159544 w 4581525"/>
              <a:gd name="connsiteY39" fmla="*/ 3436144 h 4581525"/>
              <a:gd name="connsiteX40" fmla="*/ 159544 w 4581525"/>
              <a:gd name="connsiteY40" fmla="*/ 159544 h 4581525"/>
              <a:gd name="connsiteX41" fmla="*/ 4426744 w 4581525"/>
              <a:gd name="connsiteY41" fmla="*/ 159544 h 4581525"/>
              <a:gd name="connsiteX42" fmla="*/ 4426744 w 4581525"/>
              <a:gd name="connsiteY42" fmla="*/ 3436144 h 4581525"/>
              <a:gd name="connsiteX43" fmla="*/ 921544 w 4581525"/>
              <a:gd name="connsiteY43" fmla="*/ 2826544 h 4581525"/>
              <a:gd name="connsiteX44" fmla="*/ 616744 w 4581525"/>
              <a:gd name="connsiteY44" fmla="*/ 2826544 h 4581525"/>
              <a:gd name="connsiteX45" fmla="*/ 540544 w 4581525"/>
              <a:gd name="connsiteY45" fmla="*/ 2902744 h 4581525"/>
              <a:gd name="connsiteX46" fmla="*/ 540544 w 4581525"/>
              <a:gd name="connsiteY46" fmla="*/ 3207544 h 4581525"/>
              <a:gd name="connsiteX47" fmla="*/ 616744 w 4581525"/>
              <a:gd name="connsiteY47" fmla="*/ 3283744 h 4581525"/>
              <a:gd name="connsiteX48" fmla="*/ 921544 w 4581525"/>
              <a:gd name="connsiteY48" fmla="*/ 3283744 h 4581525"/>
              <a:gd name="connsiteX49" fmla="*/ 997744 w 4581525"/>
              <a:gd name="connsiteY49" fmla="*/ 3207544 h 4581525"/>
              <a:gd name="connsiteX50" fmla="*/ 997744 w 4581525"/>
              <a:gd name="connsiteY50" fmla="*/ 2902744 h 4581525"/>
              <a:gd name="connsiteX51" fmla="*/ 921544 w 4581525"/>
              <a:gd name="connsiteY51" fmla="*/ 2826544 h 4581525"/>
              <a:gd name="connsiteX52" fmla="*/ 845344 w 4581525"/>
              <a:gd name="connsiteY52" fmla="*/ 3131344 h 4581525"/>
              <a:gd name="connsiteX53" fmla="*/ 692944 w 4581525"/>
              <a:gd name="connsiteY53" fmla="*/ 3131344 h 4581525"/>
              <a:gd name="connsiteX54" fmla="*/ 692944 w 4581525"/>
              <a:gd name="connsiteY54" fmla="*/ 2978944 h 4581525"/>
              <a:gd name="connsiteX55" fmla="*/ 845344 w 4581525"/>
              <a:gd name="connsiteY55" fmla="*/ 2978944 h 4581525"/>
              <a:gd name="connsiteX56" fmla="*/ 845344 w 4581525"/>
              <a:gd name="connsiteY56" fmla="*/ 3131344 h 4581525"/>
              <a:gd name="connsiteX57" fmla="*/ 1683544 w 4581525"/>
              <a:gd name="connsiteY57" fmla="*/ 2674144 h 4581525"/>
              <a:gd name="connsiteX58" fmla="*/ 1378744 w 4581525"/>
              <a:gd name="connsiteY58" fmla="*/ 2674144 h 4581525"/>
              <a:gd name="connsiteX59" fmla="*/ 1302544 w 4581525"/>
              <a:gd name="connsiteY59" fmla="*/ 2750344 h 4581525"/>
              <a:gd name="connsiteX60" fmla="*/ 1302544 w 4581525"/>
              <a:gd name="connsiteY60" fmla="*/ 3207544 h 4581525"/>
              <a:gd name="connsiteX61" fmla="*/ 1378744 w 4581525"/>
              <a:gd name="connsiteY61" fmla="*/ 3283744 h 4581525"/>
              <a:gd name="connsiteX62" fmla="*/ 1683544 w 4581525"/>
              <a:gd name="connsiteY62" fmla="*/ 3283744 h 4581525"/>
              <a:gd name="connsiteX63" fmla="*/ 1759744 w 4581525"/>
              <a:gd name="connsiteY63" fmla="*/ 3207544 h 4581525"/>
              <a:gd name="connsiteX64" fmla="*/ 1759744 w 4581525"/>
              <a:gd name="connsiteY64" fmla="*/ 2750344 h 4581525"/>
              <a:gd name="connsiteX65" fmla="*/ 1683544 w 4581525"/>
              <a:gd name="connsiteY65" fmla="*/ 2674144 h 4581525"/>
              <a:gd name="connsiteX66" fmla="*/ 1607344 w 4581525"/>
              <a:gd name="connsiteY66" fmla="*/ 3131344 h 4581525"/>
              <a:gd name="connsiteX67" fmla="*/ 1454944 w 4581525"/>
              <a:gd name="connsiteY67" fmla="*/ 3131344 h 4581525"/>
              <a:gd name="connsiteX68" fmla="*/ 1454944 w 4581525"/>
              <a:gd name="connsiteY68" fmla="*/ 2826544 h 4581525"/>
              <a:gd name="connsiteX69" fmla="*/ 1607344 w 4581525"/>
              <a:gd name="connsiteY69" fmla="*/ 2826544 h 4581525"/>
              <a:gd name="connsiteX70" fmla="*/ 1607344 w 4581525"/>
              <a:gd name="connsiteY70" fmla="*/ 3131344 h 4581525"/>
              <a:gd name="connsiteX71" fmla="*/ 2445544 w 4581525"/>
              <a:gd name="connsiteY71" fmla="*/ 2369344 h 4581525"/>
              <a:gd name="connsiteX72" fmla="*/ 2140744 w 4581525"/>
              <a:gd name="connsiteY72" fmla="*/ 2369344 h 4581525"/>
              <a:gd name="connsiteX73" fmla="*/ 2064544 w 4581525"/>
              <a:gd name="connsiteY73" fmla="*/ 2445544 h 4581525"/>
              <a:gd name="connsiteX74" fmla="*/ 2064544 w 4581525"/>
              <a:gd name="connsiteY74" fmla="*/ 3207544 h 4581525"/>
              <a:gd name="connsiteX75" fmla="*/ 2140744 w 4581525"/>
              <a:gd name="connsiteY75" fmla="*/ 3283744 h 4581525"/>
              <a:gd name="connsiteX76" fmla="*/ 2445544 w 4581525"/>
              <a:gd name="connsiteY76" fmla="*/ 3283744 h 4581525"/>
              <a:gd name="connsiteX77" fmla="*/ 2521744 w 4581525"/>
              <a:gd name="connsiteY77" fmla="*/ 3207544 h 4581525"/>
              <a:gd name="connsiteX78" fmla="*/ 2521744 w 4581525"/>
              <a:gd name="connsiteY78" fmla="*/ 2445544 h 4581525"/>
              <a:gd name="connsiteX79" fmla="*/ 2445544 w 4581525"/>
              <a:gd name="connsiteY79" fmla="*/ 2369344 h 4581525"/>
              <a:gd name="connsiteX80" fmla="*/ 2369344 w 4581525"/>
              <a:gd name="connsiteY80" fmla="*/ 3131344 h 4581525"/>
              <a:gd name="connsiteX81" fmla="*/ 2216944 w 4581525"/>
              <a:gd name="connsiteY81" fmla="*/ 3131344 h 4581525"/>
              <a:gd name="connsiteX82" fmla="*/ 2216944 w 4581525"/>
              <a:gd name="connsiteY82" fmla="*/ 2521744 h 4581525"/>
              <a:gd name="connsiteX83" fmla="*/ 2369344 w 4581525"/>
              <a:gd name="connsiteY83" fmla="*/ 2521744 h 4581525"/>
              <a:gd name="connsiteX84" fmla="*/ 2369344 w 4581525"/>
              <a:gd name="connsiteY84" fmla="*/ 3131344 h 4581525"/>
              <a:gd name="connsiteX85" fmla="*/ 3207544 w 4581525"/>
              <a:gd name="connsiteY85" fmla="*/ 1912144 h 4581525"/>
              <a:gd name="connsiteX86" fmla="*/ 2902744 w 4581525"/>
              <a:gd name="connsiteY86" fmla="*/ 1912144 h 4581525"/>
              <a:gd name="connsiteX87" fmla="*/ 2826544 w 4581525"/>
              <a:gd name="connsiteY87" fmla="*/ 1988344 h 4581525"/>
              <a:gd name="connsiteX88" fmla="*/ 2826544 w 4581525"/>
              <a:gd name="connsiteY88" fmla="*/ 3207544 h 4581525"/>
              <a:gd name="connsiteX89" fmla="*/ 2902744 w 4581525"/>
              <a:gd name="connsiteY89" fmla="*/ 3283744 h 4581525"/>
              <a:gd name="connsiteX90" fmla="*/ 3207544 w 4581525"/>
              <a:gd name="connsiteY90" fmla="*/ 3283744 h 4581525"/>
              <a:gd name="connsiteX91" fmla="*/ 3283744 w 4581525"/>
              <a:gd name="connsiteY91" fmla="*/ 3207544 h 4581525"/>
              <a:gd name="connsiteX92" fmla="*/ 3283744 w 4581525"/>
              <a:gd name="connsiteY92" fmla="*/ 1988344 h 4581525"/>
              <a:gd name="connsiteX93" fmla="*/ 3207544 w 4581525"/>
              <a:gd name="connsiteY93" fmla="*/ 1912144 h 4581525"/>
              <a:gd name="connsiteX94" fmla="*/ 3131344 w 4581525"/>
              <a:gd name="connsiteY94" fmla="*/ 3131344 h 4581525"/>
              <a:gd name="connsiteX95" fmla="*/ 2978944 w 4581525"/>
              <a:gd name="connsiteY95" fmla="*/ 3131344 h 4581525"/>
              <a:gd name="connsiteX96" fmla="*/ 2978944 w 4581525"/>
              <a:gd name="connsiteY96" fmla="*/ 2064544 h 4581525"/>
              <a:gd name="connsiteX97" fmla="*/ 3131344 w 4581525"/>
              <a:gd name="connsiteY97" fmla="*/ 2064544 h 4581525"/>
              <a:gd name="connsiteX98" fmla="*/ 3131344 w 4581525"/>
              <a:gd name="connsiteY98" fmla="*/ 3131344 h 4581525"/>
              <a:gd name="connsiteX99" fmla="*/ 3969544 w 4581525"/>
              <a:gd name="connsiteY99" fmla="*/ 1073944 h 4581525"/>
              <a:gd name="connsiteX100" fmla="*/ 3664744 w 4581525"/>
              <a:gd name="connsiteY100" fmla="*/ 1073944 h 4581525"/>
              <a:gd name="connsiteX101" fmla="*/ 3588544 w 4581525"/>
              <a:gd name="connsiteY101" fmla="*/ 1150144 h 4581525"/>
              <a:gd name="connsiteX102" fmla="*/ 3588544 w 4581525"/>
              <a:gd name="connsiteY102" fmla="*/ 3207544 h 4581525"/>
              <a:gd name="connsiteX103" fmla="*/ 3664744 w 4581525"/>
              <a:gd name="connsiteY103" fmla="*/ 3283744 h 4581525"/>
              <a:gd name="connsiteX104" fmla="*/ 3969544 w 4581525"/>
              <a:gd name="connsiteY104" fmla="*/ 3283744 h 4581525"/>
              <a:gd name="connsiteX105" fmla="*/ 4045744 w 4581525"/>
              <a:gd name="connsiteY105" fmla="*/ 3207544 h 4581525"/>
              <a:gd name="connsiteX106" fmla="*/ 4045744 w 4581525"/>
              <a:gd name="connsiteY106" fmla="*/ 1150144 h 4581525"/>
              <a:gd name="connsiteX107" fmla="*/ 3969544 w 4581525"/>
              <a:gd name="connsiteY107" fmla="*/ 1073944 h 4581525"/>
              <a:gd name="connsiteX108" fmla="*/ 3893344 w 4581525"/>
              <a:gd name="connsiteY108" fmla="*/ 3131344 h 4581525"/>
              <a:gd name="connsiteX109" fmla="*/ 3740944 w 4581525"/>
              <a:gd name="connsiteY109" fmla="*/ 3131344 h 4581525"/>
              <a:gd name="connsiteX110" fmla="*/ 3740944 w 4581525"/>
              <a:gd name="connsiteY110" fmla="*/ 1226344 h 4581525"/>
              <a:gd name="connsiteX111" fmla="*/ 3893344 w 4581525"/>
              <a:gd name="connsiteY111" fmla="*/ 1226344 h 4581525"/>
              <a:gd name="connsiteX112" fmla="*/ 3893344 w 4581525"/>
              <a:gd name="connsiteY112" fmla="*/ 3131344 h 458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581525" h="4581525">
                <a:moveTo>
                  <a:pt x="4041934" y="821531"/>
                </a:moveTo>
                <a:lnTo>
                  <a:pt x="3889534" y="364331"/>
                </a:lnTo>
                <a:cubicBezTo>
                  <a:pt x="3876199" y="324326"/>
                  <a:pt x="3833336" y="302419"/>
                  <a:pt x="3793331" y="315754"/>
                </a:cubicBezTo>
                <a:cubicBezTo>
                  <a:pt x="3789521" y="316706"/>
                  <a:pt x="3786664" y="318611"/>
                  <a:pt x="3782854" y="320516"/>
                </a:cubicBezTo>
                <a:lnTo>
                  <a:pt x="3325654" y="549116"/>
                </a:lnTo>
                <a:cubicBezTo>
                  <a:pt x="3287554" y="568166"/>
                  <a:pt x="3272314" y="613886"/>
                  <a:pt x="3291364" y="651034"/>
                </a:cubicBezTo>
                <a:cubicBezTo>
                  <a:pt x="3310414" y="688181"/>
                  <a:pt x="3356134" y="704374"/>
                  <a:pt x="3393281" y="685324"/>
                </a:cubicBezTo>
                <a:lnTo>
                  <a:pt x="3641884" y="560546"/>
                </a:lnTo>
                <a:cubicBezTo>
                  <a:pt x="2987516" y="1758791"/>
                  <a:pt x="1792129" y="2521744"/>
                  <a:pt x="540544" y="2521744"/>
                </a:cubicBezTo>
                <a:lnTo>
                  <a:pt x="540544" y="2674144"/>
                </a:lnTo>
                <a:cubicBezTo>
                  <a:pt x="1864519" y="2674144"/>
                  <a:pt x="3126581" y="1859756"/>
                  <a:pt x="3802856" y="585311"/>
                </a:cubicBezTo>
                <a:lnTo>
                  <a:pt x="3897154" y="869156"/>
                </a:lnTo>
                <a:cubicBezTo>
                  <a:pt x="3910489" y="909161"/>
                  <a:pt x="3953351" y="931069"/>
                  <a:pt x="3993356" y="917734"/>
                </a:cubicBezTo>
                <a:cubicBezTo>
                  <a:pt x="4033361" y="904399"/>
                  <a:pt x="4055269" y="861536"/>
                  <a:pt x="4041934" y="821531"/>
                </a:cubicBezTo>
                <a:close/>
                <a:moveTo>
                  <a:pt x="4502944" y="7144"/>
                </a:moveTo>
                <a:lnTo>
                  <a:pt x="83344" y="7144"/>
                </a:lnTo>
                <a:cubicBezTo>
                  <a:pt x="41434" y="7144"/>
                  <a:pt x="7144" y="41434"/>
                  <a:pt x="7144" y="83344"/>
                </a:cubicBezTo>
                <a:lnTo>
                  <a:pt x="7144" y="3512344"/>
                </a:lnTo>
                <a:cubicBezTo>
                  <a:pt x="7144" y="3554254"/>
                  <a:pt x="41434" y="3588544"/>
                  <a:pt x="83344" y="3588544"/>
                </a:cubicBezTo>
                <a:lnTo>
                  <a:pt x="1428274" y="3588544"/>
                </a:lnTo>
                <a:lnTo>
                  <a:pt x="1153954" y="4480084"/>
                </a:lnTo>
                <a:cubicBezTo>
                  <a:pt x="1141571" y="4520089"/>
                  <a:pt x="1164431" y="4562951"/>
                  <a:pt x="1204436" y="4575334"/>
                </a:cubicBezTo>
                <a:cubicBezTo>
                  <a:pt x="1244441" y="4587716"/>
                  <a:pt x="1287304" y="4564856"/>
                  <a:pt x="1299686" y="4524851"/>
                </a:cubicBezTo>
                <a:lnTo>
                  <a:pt x="1447324" y="4044791"/>
                </a:lnTo>
                <a:lnTo>
                  <a:pt x="3139916" y="4044791"/>
                </a:lnTo>
                <a:lnTo>
                  <a:pt x="3287554" y="4524851"/>
                </a:lnTo>
                <a:cubicBezTo>
                  <a:pt x="3299936" y="4564856"/>
                  <a:pt x="3342799" y="4587716"/>
                  <a:pt x="3382804" y="4575334"/>
                </a:cubicBezTo>
                <a:cubicBezTo>
                  <a:pt x="3422809" y="4562951"/>
                  <a:pt x="3445669" y="4520089"/>
                  <a:pt x="3433286" y="4480084"/>
                </a:cubicBezTo>
                <a:lnTo>
                  <a:pt x="3158014" y="3588544"/>
                </a:lnTo>
                <a:lnTo>
                  <a:pt x="4502944" y="3588544"/>
                </a:lnTo>
                <a:cubicBezTo>
                  <a:pt x="4544854" y="3588544"/>
                  <a:pt x="4579144" y="3554254"/>
                  <a:pt x="4579144" y="3512344"/>
                </a:cubicBezTo>
                <a:lnTo>
                  <a:pt x="4579144" y="83344"/>
                </a:lnTo>
                <a:cubicBezTo>
                  <a:pt x="4579144" y="41434"/>
                  <a:pt x="4544854" y="7144"/>
                  <a:pt x="4502944" y="7144"/>
                </a:cubicBezTo>
                <a:close/>
                <a:moveTo>
                  <a:pt x="1493996" y="3893344"/>
                </a:moveTo>
                <a:lnTo>
                  <a:pt x="1587341" y="3588544"/>
                </a:lnTo>
                <a:lnTo>
                  <a:pt x="2998946" y="3588544"/>
                </a:lnTo>
                <a:lnTo>
                  <a:pt x="3092291" y="3893344"/>
                </a:lnTo>
                <a:lnTo>
                  <a:pt x="1493996" y="3893344"/>
                </a:lnTo>
                <a:close/>
                <a:moveTo>
                  <a:pt x="4426744" y="3436144"/>
                </a:moveTo>
                <a:lnTo>
                  <a:pt x="159544" y="3436144"/>
                </a:lnTo>
                <a:lnTo>
                  <a:pt x="159544" y="159544"/>
                </a:lnTo>
                <a:lnTo>
                  <a:pt x="4426744" y="159544"/>
                </a:lnTo>
                <a:lnTo>
                  <a:pt x="4426744" y="3436144"/>
                </a:lnTo>
                <a:close/>
                <a:moveTo>
                  <a:pt x="921544" y="2826544"/>
                </a:moveTo>
                <a:lnTo>
                  <a:pt x="616744" y="2826544"/>
                </a:lnTo>
                <a:cubicBezTo>
                  <a:pt x="574834" y="2826544"/>
                  <a:pt x="540544" y="2860834"/>
                  <a:pt x="540544" y="2902744"/>
                </a:cubicBezTo>
                <a:lnTo>
                  <a:pt x="540544" y="3207544"/>
                </a:lnTo>
                <a:cubicBezTo>
                  <a:pt x="540544" y="3249454"/>
                  <a:pt x="574834" y="3283744"/>
                  <a:pt x="616744" y="3283744"/>
                </a:cubicBezTo>
                <a:lnTo>
                  <a:pt x="921544" y="3283744"/>
                </a:lnTo>
                <a:cubicBezTo>
                  <a:pt x="963454" y="3283744"/>
                  <a:pt x="997744" y="3249454"/>
                  <a:pt x="997744" y="3207544"/>
                </a:cubicBezTo>
                <a:lnTo>
                  <a:pt x="997744" y="2902744"/>
                </a:lnTo>
                <a:cubicBezTo>
                  <a:pt x="997744" y="2860834"/>
                  <a:pt x="963454" y="2826544"/>
                  <a:pt x="921544" y="2826544"/>
                </a:cubicBezTo>
                <a:close/>
                <a:moveTo>
                  <a:pt x="845344" y="3131344"/>
                </a:moveTo>
                <a:lnTo>
                  <a:pt x="692944" y="3131344"/>
                </a:lnTo>
                <a:lnTo>
                  <a:pt x="692944" y="2978944"/>
                </a:lnTo>
                <a:lnTo>
                  <a:pt x="845344" y="2978944"/>
                </a:lnTo>
                <a:lnTo>
                  <a:pt x="845344" y="3131344"/>
                </a:lnTo>
                <a:close/>
                <a:moveTo>
                  <a:pt x="1683544" y="2674144"/>
                </a:moveTo>
                <a:lnTo>
                  <a:pt x="1378744" y="2674144"/>
                </a:lnTo>
                <a:cubicBezTo>
                  <a:pt x="1336834" y="2674144"/>
                  <a:pt x="1302544" y="2708434"/>
                  <a:pt x="1302544" y="2750344"/>
                </a:cubicBezTo>
                <a:lnTo>
                  <a:pt x="1302544" y="3207544"/>
                </a:lnTo>
                <a:cubicBezTo>
                  <a:pt x="1302544" y="3249454"/>
                  <a:pt x="1336834" y="3283744"/>
                  <a:pt x="1378744" y="3283744"/>
                </a:cubicBezTo>
                <a:lnTo>
                  <a:pt x="1683544" y="3283744"/>
                </a:lnTo>
                <a:cubicBezTo>
                  <a:pt x="1725454" y="3283744"/>
                  <a:pt x="1759744" y="3249454"/>
                  <a:pt x="1759744" y="3207544"/>
                </a:cubicBezTo>
                <a:lnTo>
                  <a:pt x="1759744" y="2750344"/>
                </a:lnTo>
                <a:cubicBezTo>
                  <a:pt x="1759744" y="2708434"/>
                  <a:pt x="1725454" y="2674144"/>
                  <a:pt x="1683544" y="2674144"/>
                </a:cubicBezTo>
                <a:close/>
                <a:moveTo>
                  <a:pt x="1607344" y="3131344"/>
                </a:moveTo>
                <a:lnTo>
                  <a:pt x="1454944" y="3131344"/>
                </a:lnTo>
                <a:lnTo>
                  <a:pt x="1454944" y="2826544"/>
                </a:lnTo>
                <a:lnTo>
                  <a:pt x="1607344" y="2826544"/>
                </a:lnTo>
                <a:lnTo>
                  <a:pt x="1607344" y="3131344"/>
                </a:lnTo>
                <a:close/>
                <a:moveTo>
                  <a:pt x="2445544" y="2369344"/>
                </a:moveTo>
                <a:lnTo>
                  <a:pt x="2140744" y="2369344"/>
                </a:lnTo>
                <a:cubicBezTo>
                  <a:pt x="2098834" y="2369344"/>
                  <a:pt x="2064544" y="2403634"/>
                  <a:pt x="2064544" y="2445544"/>
                </a:cubicBezTo>
                <a:lnTo>
                  <a:pt x="2064544" y="3207544"/>
                </a:lnTo>
                <a:cubicBezTo>
                  <a:pt x="2064544" y="3249454"/>
                  <a:pt x="2098834" y="3283744"/>
                  <a:pt x="2140744" y="3283744"/>
                </a:cubicBezTo>
                <a:lnTo>
                  <a:pt x="2445544" y="3283744"/>
                </a:lnTo>
                <a:cubicBezTo>
                  <a:pt x="2487454" y="3283744"/>
                  <a:pt x="2521744" y="3249454"/>
                  <a:pt x="2521744" y="3207544"/>
                </a:cubicBezTo>
                <a:lnTo>
                  <a:pt x="2521744" y="2445544"/>
                </a:lnTo>
                <a:cubicBezTo>
                  <a:pt x="2521744" y="2403634"/>
                  <a:pt x="2487454" y="2369344"/>
                  <a:pt x="2445544" y="2369344"/>
                </a:cubicBezTo>
                <a:close/>
                <a:moveTo>
                  <a:pt x="2369344" y="3131344"/>
                </a:moveTo>
                <a:lnTo>
                  <a:pt x="2216944" y="3131344"/>
                </a:lnTo>
                <a:lnTo>
                  <a:pt x="2216944" y="2521744"/>
                </a:lnTo>
                <a:lnTo>
                  <a:pt x="2369344" y="2521744"/>
                </a:lnTo>
                <a:lnTo>
                  <a:pt x="2369344" y="3131344"/>
                </a:lnTo>
                <a:close/>
                <a:moveTo>
                  <a:pt x="3207544" y="1912144"/>
                </a:moveTo>
                <a:lnTo>
                  <a:pt x="2902744" y="1912144"/>
                </a:lnTo>
                <a:cubicBezTo>
                  <a:pt x="2860834" y="1912144"/>
                  <a:pt x="2826544" y="1946434"/>
                  <a:pt x="2826544" y="1988344"/>
                </a:cubicBezTo>
                <a:lnTo>
                  <a:pt x="2826544" y="3207544"/>
                </a:lnTo>
                <a:cubicBezTo>
                  <a:pt x="2826544" y="3249454"/>
                  <a:pt x="2860834" y="3283744"/>
                  <a:pt x="2902744" y="3283744"/>
                </a:cubicBezTo>
                <a:lnTo>
                  <a:pt x="3207544" y="3283744"/>
                </a:lnTo>
                <a:cubicBezTo>
                  <a:pt x="3249454" y="3283744"/>
                  <a:pt x="3283744" y="3249454"/>
                  <a:pt x="3283744" y="3207544"/>
                </a:cubicBezTo>
                <a:lnTo>
                  <a:pt x="3283744" y="1988344"/>
                </a:lnTo>
                <a:cubicBezTo>
                  <a:pt x="3283744" y="1946434"/>
                  <a:pt x="3249454" y="1912144"/>
                  <a:pt x="3207544" y="1912144"/>
                </a:cubicBezTo>
                <a:close/>
                <a:moveTo>
                  <a:pt x="3131344" y="3131344"/>
                </a:moveTo>
                <a:lnTo>
                  <a:pt x="2978944" y="3131344"/>
                </a:lnTo>
                <a:lnTo>
                  <a:pt x="2978944" y="2064544"/>
                </a:lnTo>
                <a:lnTo>
                  <a:pt x="3131344" y="2064544"/>
                </a:lnTo>
                <a:lnTo>
                  <a:pt x="3131344" y="3131344"/>
                </a:lnTo>
                <a:close/>
                <a:moveTo>
                  <a:pt x="3969544" y="1073944"/>
                </a:moveTo>
                <a:lnTo>
                  <a:pt x="3664744" y="1073944"/>
                </a:lnTo>
                <a:cubicBezTo>
                  <a:pt x="3622834" y="1073944"/>
                  <a:pt x="3588544" y="1108234"/>
                  <a:pt x="3588544" y="1150144"/>
                </a:cubicBezTo>
                <a:lnTo>
                  <a:pt x="3588544" y="3207544"/>
                </a:lnTo>
                <a:cubicBezTo>
                  <a:pt x="3588544" y="3249454"/>
                  <a:pt x="3622834" y="3283744"/>
                  <a:pt x="3664744" y="3283744"/>
                </a:cubicBezTo>
                <a:lnTo>
                  <a:pt x="3969544" y="3283744"/>
                </a:lnTo>
                <a:cubicBezTo>
                  <a:pt x="4011454" y="3283744"/>
                  <a:pt x="4045744" y="3249454"/>
                  <a:pt x="4045744" y="3207544"/>
                </a:cubicBezTo>
                <a:lnTo>
                  <a:pt x="4045744" y="1150144"/>
                </a:lnTo>
                <a:cubicBezTo>
                  <a:pt x="4045744" y="1108234"/>
                  <a:pt x="4011454" y="1073944"/>
                  <a:pt x="3969544" y="1073944"/>
                </a:cubicBezTo>
                <a:close/>
                <a:moveTo>
                  <a:pt x="3893344" y="3131344"/>
                </a:moveTo>
                <a:lnTo>
                  <a:pt x="3740944" y="3131344"/>
                </a:lnTo>
                <a:lnTo>
                  <a:pt x="3740944" y="1226344"/>
                </a:lnTo>
                <a:lnTo>
                  <a:pt x="3893344" y="1226344"/>
                </a:lnTo>
                <a:lnTo>
                  <a:pt x="3893344" y="3131344"/>
                </a:lnTo>
                <a:close/>
              </a:path>
            </a:pathLst>
          </a:custGeom>
          <a:solidFill>
            <a:srgbClr val="000000"/>
          </a:solidFill>
          <a:ln w="9525" cap="flat">
            <a:noFill/>
            <a:prstDash val="solid"/>
            <a:miter/>
          </a:ln>
        </p:spPr>
        <p:txBody>
          <a:bodyPr rtlCol="0" anchor="ctr"/>
          <a:lstStyle/>
          <a:p>
            <a:endParaRPr lang="sr-Latn-RS" sz="2400"/>
          </a:p>
        </p:txBody>
      </p:sp>
      <p:sp>
        <p:nvSpPr>
          <p:cNvPr id="15" name="TextBox 14">
            <a:extLst>
              <a:ext uri="{FF2B5EF4-FFF2-40B4-BE49-F238E27FC236}">
                <a16:creationId xmlns:a16="http://schemas.microsoft.com/office/drawing/2014/main" id="{8FB1C862-75F6-4E6B-8F2A-4820E8E2C017}"/>
              </a:ext>
            </a:extLst>
          </p:cNvPr>
          <p:cNvSpPr txBox="1"/>
          <p:nvPr/>
        </p:nvSpPr>
        <p:spPr>
          <a:xfrm>
            <a:off x="9247094" y="803102"/>
            <a:ext cx="2077002" cy="600164"/>
          </a:xfrm>
          <a:prstGeom prst="rect">
            <a:avLst/>
          </a:prstGeom>
          <a:noFill/>
        </p:spPr>
        <p:txBody>
          <a:bodyPr wrap="square">
            <a:spAutoFit/>
          </a:bodyPr>
          <a:lstStyle/>
          <a:p>
            <a:pPr lvl="2"/>
            <a:r>
              <a:rPr lang="en-US" sz="1100" i="1" dirty="0"/>
              <a:t>“</a:t>
            </a:r>
            <a:r>
              <a:rPr lang="en-US" sz="1100" i="1" u="sng" dirty="0"/>
              <a:t>improve the activities and processes</a:t>
            </a:r>
            <a:r>
              <a:rPr lang="en-US" sz="1100" i="1" dirty="0"/>
              <a:t>”</a:t>
            </a:r>
            <a:endParaRPr lang="en-US" sz="1100" dirty="0"/>
          </a:p>
        </p:txBody>
      </p:sp>
    </p:spTree>
    <p:extLst>
      <p:ext uri="{BB962C8B-B14F-4D97-AF65-F5344CB8AC3E}">
        <p14:creationId xmlns:p14="http://schemas.microsoft.com/office/powerpoint/2010/main" val="1110928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C9E12E-B644-483D-91C0-391C4A70895D}"/>
              </a:ext>
            </a:extLst>
          </p:cNvPr>
          <p:cNvSpPr>
            <a:spLocks noGrp="1"/>
          </p:cNvSpPr>
          <p:nvPr>
            <p:ph type="title"/>
          </p:nvPr>
        </p:nvSpPr>
        <p:spPr/>
        <p:txBody>
          <a:bodyPr/>
          <a:lstStyle/>
          <a:p>
            <a:r>
              <a:rPr lang="en-US" dirty="0"/>
              <a:t>D1.3 Improving a CCN pilot</a:t>
            </a:r>
            <a:br>
              <a:rPr lang="en-US" dirty="0"/>
            </a:br>
            <a:r>
              <a:rPr lang="en-US" dirty="0">
                <a:solidFill>
                  <a:schemeClr val="accent1"/>
                </a:solidFill>
              </a:rPr>
              <a:t>3.2 Transversal activities</a:t>
            </a:r>
            <a:br>
              <a:rPr lang="en-US" dirty="0">
                <a:solidFill>
                  <a:schemeClr val="accent1"/>
                </a:solidFill>
              </a:rPr>
            </a:br>
            <a:endParaRPr lang="en-US" dirty="0">
              <a:solidFill>
                <a:schemeClr val="accent1"/>
              </a:solidFill>
            </a:endParaRPr>
          </a:p>
        </p:txBody>
      </p:sp>
      <p:sp>
        <p:nvSpPr>
          <p:cNvPr id="16" name="Content Placeholder 4">
            <a:extLst>
              <a:ext uri="{FF2B5EF4-FFF2-40B4-BE49-F238E27FC236}">
                <a16:creationId xmlns:a16="http://schemas.microsoft.com/office/drawing/2014/main" id="{91BEEB64-9327-4F4C-BAA0-3A53ADC179D5}"/>
              </a:ext>
            </a:extLst>
          </p:cNvPr>
          <p:cNvSpPr txBox="1">
            <a:spLocks/>
          </p:cNvSpPr>
          <p:nvPr/>
        </p:nvSpPr>
        <p:spPr>
          <a:xfrm>
            <a:off x="578840" y="1442904"/>
            <a:ext cx="10089160" cy="4926617"/>
          </a:xfrm>
          <a:prstGeom prst="rect">
            <a:avLst/>
          </a:prstGeom>
        </p:spPr>
        <p:txBody>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cap="all" dirty="0">
                <a:solidFill>
                  <a:schemeClr val="tx1">
                    <a:lumMod val="75000"/>
                    <a:lumOff val="25000"/>
                  </a:schemeClr>
                </a:solidFill>
                <a:latin typeface="+mj-lt"/>
                <a:ea typeface="+mj-ea"/>
                <a:cs typeface="+mj-cs"/>
              </a:rPr>
              <a:t>WP10 Sustainable exploitation and IPR (SMILE, Pascal)</a:t>
            </a:r>
          </a:p>
          <a:p>
            <a:pPr lvl="1"/>
            <a:endParaRPr lang="en-US" b="1" dirty="0"/>
          </a:p>
          <a:p>
            <a:pPr lvl="1"/>
            <a:r>
              <a:rPr lang="en-US" b="1" dirty="0"/>
              <a:t>Year 1 bootstrapping</a:t>
            </a:r>
          </a:p>
          <a:p>
            <a:pPr lvl="1"/>
            <a:r>
              <a:rPr lang="en-US" b="1" dirty="0"/>
              <a:t>Initiatives + Recommendations (D1.2)</a:t>
            </a:r>
          </a:p>
          <a:p>
            <a:pPr lvl="1"/>
            <a:r>
              <a:rPr lang="en-US" b="1" dirty="0"/>
              <a:t>Year 2</a:t>
            </a:r>
          </a:p>
          <a:p>
            <a:pPr lvl="2"/>
            <a:r>
              <a:rPr lang="en-US" dirty="0"/>
              <a:t>Report on improvements to the activities and processes</a:t>
            </a:r>
          </a:p>
          <a:p>
            <a:pPr lvl="2"/>
            <a:r>
              <a:rPr lang="en-US" dirty="0"/>
              <a:t>Risks: 1 risk considered not relevant, 1 risk either relevant/not relevant (check November 2020 risk evaluation)</a:t>
            </a:r>
          </a:p>
          <a:p>
            <a:pPr lvl="3"/>
            <a:r>
              <a:rPr lang="en-US" dirty="0"/>
              <a:t>1 risk considered </a:t>
            </a:r>
            <a:r>
              <a:rPr lang="en-US" b="1" u="sng" dirty="0"/>
              <a:t>not</a:t>
            </a:r>
            <a:r>
              <a:rPr lang="en-US" dirty="0"/>
              <a:t> relevant</a:t>
            </a:r>
          </a:p>
          <a:p>
            <a:pPr lvl="4"/>
            <a:r>
              <a:rPr lang="en-US" dirty="0"/>
              <a:t>WP10_1 Third party licensing obligations impacting project results exploitation	</a:t>
            </a:r>
          </a:p>
          <a:p>
            <a:pPr lvl="2"/>
            <a:endParaRPr lang="en-US" dirty="0"/>
          </a:p>
          <a:p>
            <a:pPr marL="0" indent="0">
              <a:buNone/>
            </a:pPr>
            <a:endParaRPr lang="en-US" dirty="0"/>
          </a:p>
        </p:txBody>
      </p:sp>
      <p:pic>
        <p:nvPicPr>
          <p:cNvPr id="5" name="Picture 4">
            <a:extLst>
              <a:ext uri="{FF2B5EF4-FFF2-40B4-BE49-F238E27FC236}">
                <a16:creationId xmlns:a16="http://schemas.microsoft.com/office/drawing/2014/main" id="{7D2E2237-8639-4C22-A90B-28335F62B041}"/>
              </a:ext>
            </a:extLst>
          </p:cNvPr>
          <p:cNvPicPr>
            <a:picLocks noChangeAspect="1"/>
          </p:cNvPicPr>
          <p:nvPr/>
        </p:nvPicPr>
        <p:blipFill rotWithShape="1">
          <a:blip r:embed="rId2"/>
          <a:srcRect l="28816" t="10352" r="40197" b="64754"/>
          <a:stretch/>
        </p:blipFill>
        <p:spPr>
          <a:xfrm>
            <a:off x="7507941" y="239028"/>
            <a:ext cx="2398793" cy="1048871"/>
          </a:xfrm>
          <a:prstGeom prst="rect">
            <a:avLst/>
          </a:prstGeom>
          <a:ln w="31750">
            <a:solidFill>
              <a:schemeClr val="accent1"/>
            </a:solidFill>
          </a:ln>
        </p:spPr>
      </p:pic>
      <p:sp>
        <p:nvSpPr>
          <p:cNvPr id="13" name="Freeform: Shape 12">
            <a:extLst>
              <a:ext uri="{FF2B5EF4-FFF2-40B4-BE49-F238E27FC236}">
                <a16:creationId xmlns:a16="http://schemas.microsoft.com/office/drawing/2014/main" id="{E73FE964-9788-497D-A4D0-397B86C68CDD}"/>
              </a:ext>
            </a:extLst>
          </p:cNvPr>
          <p:cNvSpPr>
            <a:spLocks noChangeAspect="1"/>
          </p:cNvSpPr>
          <p:nvPr/>
        </p:nvSpPr>
        <p:spPr>
          <a:xfrm>
            <a:off x="10356000" y="198646"/>
            <a:ext cx="624000" cy="624000"/>
          </a:xfrm>
          <a:custGeom>
            <a:avLst/>
            <a:gdLst>
              <a:gd name="connsiteX0" fmla="*/ 4041934 w 4581525"/>
              <a:gd name="connsiteY0" fmla="*/ 821531 h 4581525"/>
              <a:gd name="connsiteX1" fmla="*/ 3889534 w 4581525"/>
              <a:gd name="connsiteY1" fmla="*/ 364331 h 4581525"/>
              <a:gd name="connsiteX2" fmla="*/ 3793331 w 4581525"/>
              <a:gd name="connsiteY2" fmla="*/ 315754 h 4581525"/>
              <a:gd name="connsiteX3" fmla="*/ 3782854 w 4581525"/>
              <a:gd name="connsiteY3" fmla="*/ 320516 h 4581525"/>
              <a:gd name="connsiteX4" fmla="*/ 3325654 w 4581525"/>
              <a:gd name="connsiteY4" fmla="*/ 549116 h 4581525"/>
              <a:gd name="connsiteX5" fmla="*/ 3291364 w 4581525"/>
              <a:gd name="connsiteY5" fmla="*/ 651034 h 4581525"/>
              <a:gd name="connsiteX6" fmla="*/ 3393281 w 4581525"/>
              <a:gd name="connsiteY6" fmla="*/ 685324 h 4581525"/>
              <a:gd name="connsiteX7" fmla="*/ 3641884 w 4581525"/>
              <a:gd name="connsiteY7" fmla="*/ 560546 h 4581525"/>
              <a:gd name="connsiteX8" fmla="*/ 540544 w 4581525"/>
              <a:gd name="connsiteY8" fmla="*/ 2521744 h 4581525"/>
              <a:gd name="connsiteX9" fmla="*/ 540544 w 4581525"/>
              <a:gd name="connsiteY9" fmla="*/ 2674144 h 4581525"/>
              <a:gd name="connsiteX10" fmla="*/ 3802856 w 4581525"/>
              <a:gd name="connsiteY10" fmla="*/ 585311 h 4581525"/>
              <a:gd name="connsiteX11" fmla="*/ 3897154 w 4581525"/>
              <a:gd name="connsiteY11" fmla="*/ 869156 h 4581525"/>
              <a:gd name="connsiteX12" fmla="*/ 3993356 w 4581525"/>
              <a:gd name="connsiteY12" fmla="*/ 917734 h 4581525"/>
              <a:gd name="connsiteX13" fmla="*/ 4041934 w 4581525"/>
              <a:gd name="connsiteY13" fmla="*/ 821531 h 4581525"/>
              <a:gd name="connsiteX14" fmla="*/ 4502944 w 4581525"/>
              <a:gd name="connsiteY14" fmla="*/ 7144 h 4581525"/>
              <a:gd name="connsiteX15" fmla="*/ 83344 w 4581525"/>
              <a:gd name="connsiteY15" fmla="*/ 7144 h 4581525"/>
              <a:gd name="connsiteX16" fmla="*/ 7144 w 4581525"/>
              <a:gd name="connsiteY16" fmla="*/ 83344 h 4581525"/>
              <a:gd name="connsiteX17" fmla="*/ 7144 w 4581525"/>
              <a:gd name="connsiteY17" fmla="*/ 3512344 h 4581525"/>
              <a:gd name="connsiteX18" fmla="*/ 83344 w 4581525"/>
              <a:gd name="connsiteY18" fmla="*/ 3588544 h 4581525"/>
              <a:gd name="connsiteX19" fmla="*/ 1428274 w 4581525"/>
              <a:gd name="connsiteY19" fmla="*/ 3588544 h 4581525"/>
              <a:gd name="connsiteX20" fmla="*/ 1153954 w 4581525"/>
              <a:gd name="connsiteY20" fmla="*/ 4480084 h 4581525"/>
              <a:gd name="connsiteX21" fmla="*/ 1204436 w 4581525"/>
              <a:gd name="connsiteY21" fmla="*/ 4575334 h 4581525"/>
              <a:gd name="connsiteX22" fmla="*/ 1299686 w 4581525"/>
              <a:gd name="connsiteY22" fmla="*/ 4524851 h 4581525"/>
              <a:gd name="connsiteX23" fmla="*/ 1447324 w 4581525"/>
              <a:gd name="connsiteY23" fmla="*/ 4044791 h 4581525"/>
              <a:gd name="connsiteX24" fmla="*/ 3139916 w 4581525"/>
              <a:gd name="connsiteY24" fmla="*/ 4044791 h 4581525"/>
              <a:gd name="connsiteX25" fmla="*/ 3287554 w 4581525"/>
              <a:gd name="connsiteY25" fmla="*/ 4524851 h 4581525"/>
              <a:gd name="connsiteX26" fmla="*/ 3382804 w 4581525"/>
              <a:gd name="connsiteY26" fmla="*/ 4575334 h 4581525"/>
              <a:gd name="connsiteX27" fmla="*/ 3433286 w 4581525"/>
              <a:gd name="connsiteY27" fmla="*/ 4480084 h 4581525"/>
              <a:gd name="connsiteX28" fmla="*/ 3158014 w 4581525"/>
              <a:gd name="connsiteY28" fmla="*/ 3588544 h 4581525"/>
              <a:gd name="connsiteX29" fmla="*/ 4502944 w 4581525"/>
              <a:gd name="connsiteY29" fmla="*/ 3588544 h 4581525"/>
              <a:gd name="connsiteX30" fmla="*/ 4579144 w 4581525"/>
              <a:gd name="connsiteY30" fmla="*/ 3512344 h 4581525"/>
              <a:gd name="connsiteX31" fmla="*/ 4579144 w 4581525"/>
              <a:gd name="connsiteY31" fmla="*/ 83344 h 4581525"/>
              <a:gd name="connsiteX32" fmla="*/ 4502944 w 4581525"/>
              <a:gd name="connsiteY32" fmla="*/ 7144 h 4581525"/>
              <a:gd name="connsiteX33" fmla="*/ 1493996 w 4581525"/>
              <a:gd name="connsiteY33" fmla="*/ 3893344 h 4581525"/>
              <a:gd name="connsiteX34" fmla="*/ 1587341 w 4581525"/>
              <a:gd name="connsiteY34" fmla="*/ 3588544 h 4581525"/>
              <a:gd name="connsiteX35" fmla="*/ 2998946 w 4581525"/>
              <a:gd name="connsiteY35" fmla="*/ 3588544 h 4581525"/>
              <a:gd name="connsiteX36" fmla="*/ 3092291 w 4581525"/>
              <a:gd name="connsiteY36" fmla="*/ 3893344 h 4581525"/>
              <a:gd name="connsiteX37" fmla="*/ 1493996 w 4581525"/>
              <a:gd name="connsiteY37" fmla="*/ 3893344 h 4581525"/>
              <a:gd name="connsiteX38" fmla="*/ 4426744 w 4581525"/>
              <a:gd name="connsiteY38" fmla="*/ 3436144 h 4581525"/>
              <a:gd name="connsiteX39" fmla="*/ 159544 w 4581525"/>
              <a:gd name="connsiteY39" fmla="*/ 3436144 h 4581525"/>
              <a:gd name="connsiteX40" fmla="*/ 159544 w 4581525"/>
              <a:gd name="connsiteY40" fmla="*/ 159544 h 4581525"/>
              <a:gd name="connsiteX41" fmla="*/ 4426744 w 4581525"/>
              <a:gd name="connsiteY41" fmla="*/ 159544 h 4581525"/>
              <a:gd name="connsiteX42" fmla="*/ 4426744 w 4581525"/>
              <a:gd name="connsiteY42" fmla="*/ 3436144 h 4581525"/>
              <a:gd name="connsiteX43" fmla="*/ 921544 w 4581525"/>
              <a:gd name="connsiteY43" fmla="*/ 2826544 h 4581525"/>
              <a:gd name="connsiteX44" fmla="*/ 616744 w 4581525"/>
              <a:gd name="connsiteY44" fmla="*/ 2826544 h 4581525"/>
              <a:gd name="connsiteX45" fmla="*/ 540544 w 4581525"/>
              <a:gd name="connsiteY45" fmla="*/ 2902744 h 4581525"/>
              <a:gd name="connsiteX46" fmla="*/ 540544 w 4581525"/>
              <a:gd name="connsiteY46" fmla="*/ 3207544 h 4581525"/>
              <a:gd name="connsiteX47" fmla="*/ 616744 w 4581525"/>
              <a:gd name="connsiteY47" fmla="*/ 3283744 h 4581525"/>
              <a:gd name="connsiteX48" fmla="*/ 921544 w 4581525"/>
              <a:gd name="connsiteY48" fmla="*/ 3283744 h 4581525"/>
              <a:gd name="connsiteX49" fmla="*/ 997744 w 4581525"/>
              <a:gd name="connsiteY49" fmla="*/ 3207544 h 4581525"/>
              <a:gd name="connsiteX50" fmla="*/ 997744 w 4581525"/>
              <a:gd name="connsiteY50" fmla="*/ 2902744 h 4581525"/>
              <a:gd name="connsiteX51" fmla="*/ 921544 w 4581525"/>
              <a:gd name="connsiteY51" fmla="*/ 2826544 h 4581525"/>
              <a:gd name="connsiteX52" fmla="*/ 845344 w 4581525"/>
              <a:gd name="connsiteY52" fmla="*/ 3131344 h 4581525"/>
              <a:gd name="connsiteX53" fmla="*/ 692944 w 4581525"/>
              <a:gd name="connsiteY53" fmla="*/ 3131344 h 4581525"/>
              <a:gd name="connsiteX54" fmla="*/ 692944 w 4581525"/>
              <a:gd name="connsiteY54" fmla="*/ 2978944 h 4581525"/>
              <a:gd name="connsiteX55" fmla="*/ 845344 w 4581525"/>
              <a:gd name="connsiteY55" fmla="*/ 2978944 h 4581525"/>
              <a:gd name="connsiteX56" fmla="*/ 845344 w 4581525"/>
              <a:gd name="connsiteY56" fmla="*/ 3131344 h 4581525"/>
              <a:gd name="connsiteX57" fmla="*/ 1683544 w 4581525"/>
              <a:gd name="connsiteY57" fmla="*/ 2674144 h 4581525"/>
              <a:gd name="connsiteX58" fmla="*/ 1378744 w 4581525"/>
              <a:gd name="connsiteY58" fmla="*/ 2674144 h 4581525"/>
              <a:gd name="connsiteX59" fmla="*/ 1302544 w 4581525"/>
              <a:gd name="connsiteY59" fmla="*/ 2750344 h 4581525"/>
              <a:gd name="connsiteX60" fmla="*/ 1302544 w 4581525"/>
              <a:gd name="connsiteY60" fmla="*/ 3207544 h 4581525"/>
              <a:gd name="connsiteX61" fmla="*/ 1378744 w 4581525"/>
              <a:gd name="connsiteY61" fmla="*/ 3283744 h 4581525"/>
              <a:gd name="connsiteX62" fmla="*/ 1683544 w 4581525"/>
              <a:gd name="connsiteY62" fmla="*/ 3283744 h 4581525"/>
              <a:gd name="connsiteX63" fmla="*/ 1759744 w 4581525"/>
              <a:gd name="connsiteY63" fmla="*/ 3207544 h 4581525"/>
              <a:gd name="connsiteX64" fmla="*/ 1759744 w 4581525"/>
              <a:gd name="connsiteY64" fmla="*/ 2750344 h 4581525"/>
              <a:gd name="connsiteX65" fmla="*/ 1683544 w 4581525"/>
              <a:gd name="connsiteY65" fmla="*/ 2674144 h 4581525"/>
              <a:gd name="connsiteX66" fmla="*/ 1607344 w 4581525"/>
              <a:gd name="connsiteY66" fmla="*/ 3131344 h 4581525"/>
              <a:gd name="connsiteX67" fmla="*/ 1454944 w 4581525"/>
              <a:gd name="connsiteY67" fmla="*/ 3131344 h 4581525"/>
              <a:gd name="connsiteX68" fmla="*/ 1454944 w 4581525"/>
              <a:gd name="connsiteY68" fmla="*/ 2826544 h 4581525"/>
              <a:gd name="connsiteX69" fmla="*/ 1607344 w 4581525"/>
              <a:gd name="connsiteY69" fmla="*/ 2826544 h 4581525"/>
              <a:gd name="connsiteX70" fmla="*/ 1607344 w 4581525"/>
              <a:gd name="connsiteY70" fmla="*/ 3131344 h 4581525"/>
              <a:gd name="connsiteX71" fmla="*/ 2445544 w 4581525"/>
              <a:gd name="connsiteY71" fmla="*/ 2369344 h 4581525"/>
              <a:gd name="connsiteX72" fmla="*/ 2140744 w 4581525"/>
              <a:gd name="connsiteY72" fmla="*/ 2369344 h 4581525"/>
              <a:gd name="connsiteX73" fmla="*/ 2064544 w 4581525"/>
              <a:gd name="connsiteY73" fmla="*/ 2445544 h 4581525"/>
              <a:gd name="connsiteX74" fmla="*/ 2064544 w 4581525"/>
              <a:gd name="connsiteY74" fmla="*/ 3207544 h 4581525"/>
              <a:gd name="connsiteX75" fmla="*/ 2140744 w 4581525"/>
              <a:gd name="connsiteY75" fmla="*/ 3283744 h 4581525"/>
              <a:gd name="connsiteX76" fmla="*/ 2445544 w 4581525"/>
              <a:gd name="connsiteY76" fmla="*/ 3283744 h 4581525"/>
              <a:gd name="connsiteX77" fmla="*/ 2521744 w 4581525"/>
              <a:gd name="connsiteY77" fmla="*/ 3207544 h 4581525"/>
              <a:gd name="connsiteX78" fmla="*/ 2521744 w 4581525"/>
              <a:gd name="connsiteY78" fmla="*/ 2445544 h 4581525"/>
              <a:gd name="connsiteX79" fmla="*/ 2445544 w 4581525"/>
              <a:gd name="connsiteY79" fmla="*/ 2369344 h 4581525"/>
              <a:gd name="connsiteX80" fmla="*/ 2369344 w 4581525"/>
              <a:gd name="connsiteY80" fmla="*/ 3131344 h 4581525"/>
              <a:gd name="connsiteX81" fmla="*/ 2216944 w 4581525"/>
              <a:gd name="connsiteY81" fmla="*/ 3131344 h 4581525"/>
              <a:gd name="connsiteX82" fmla="*/ 2216944 w 4581525"/>
              <a:gd name="connsiteY82" fmla="*/ 2521744 h 4581525"/>
              <a:gd name="connsiteX83" fmla="*/ 2369344 w 4581525"/>
              <a:gd name="connsiteY83" fmla="*/ 2521744 h 4581525"/>
              <a:gd name="connsiteX84" fmla="*/ 2369344 w 4581525"/>
              <a:gd name="connsiteY84" fmla="*/ 3131344 h 4581525"/>
              <a:gd name="connsiteX85" fmla="*/ 3207544 w 4581525"/>
              <a:gd name="connsiteY85" fmla="*/ 1912144 h 4581525"/>
              <a:gd name="connsiteX86" fmla="*/ 2902744 w 4581525"/>
              <a:gd name="connsiteY86" fmla="*/ 1912144 h 4581525"/>
              <a:gd name="connsiteX87" fmla="*/ 2826544 w 4581525"/>
              <a:gd name="connsiteY87" fmla="*/ 1988344 h 4581525"/>
              <a:gd name="connsiteX88" fmla="*/ 2826544 w 4581525"/>
              <a:gd name="connsiteY88" fmla="*/ 3207544 h 4581525"/>
              <a:gd name="connsiteX89" fmla="*/ 2902744 w 4581525"/>
              <a:gd name="connsiteY89" fmla="*/ 3283744 h 4581525"/>
              <a:gd name="connsiteX90" fmla="*/ 3207544 w 4581525"/>
              <a:gd name="connsiteY90" fmla="*/ 3283744 h 4581525"/>
              <a:gd name="connsiteX91" fmla="*/ 3283744 w 4581525"/>
              <a:gd name="connsiteY91" fmla="*/ 3207544 h 4581525"/>
              <a:gd name="connsiteX92" fmla="*/ 3283744 w 4581525"/>
              <a:gd name="connsiteY92" fmla="*/ 1988344 h 4581525"/>
              <a:gd name="connsiteX93" fmla="*/ 3207544 w 4581525"/>
              <a:gd name="connsiteY93" fmla="*/ 1912144 h 4581525"/>
              <a:gd name="connsiteX94" fmla="*/ 3131344 w 4581525"/>
              <a:gd name="connsiteY94" fmla="*/ 3131344 h 4581525"/>
              <a:gd name="connsiteX95" fmla="*/ 2978944 w 4581525"/>
              <a:gd name="connsiteY95" fmla="*/ 3131344 h 4581525"/>
              <a:gd name="connsiteX96" fmla="*/ 2978944 w 4581525"/>
              <a:gd name="connsiteY96" fmla="*/ 2064544 h 4581525"/>
              <a:gd name="connsiteX97" fmla="*/ 3131344 w 4581525"/>
              <a:gd name="connsiteY97" fmla="*/ 2064544 h 4581525"/>
              <a:gd name="connsiteX98" fmla="*/ 3131344 w 4581525"/>
              <a:gd name="connsiteY98" fmla="*/ 3131344 h 4581525"/>
              <a:gd name="connsiteX99" fmla="*/ 3969544 w 4581525"/>
              <a:gd name="connsiteY99" fmla="*/ 1073944 h 4581525"/>
              <a:gd name="connsiteX100" fmla="*/ 3664744 w 4581525"/>
              <a:gd name="connsiteY100" fmla="*/ 1073944 h 4581525"/>
              <a:gd name="connsiteX101" fmla="*/ 3588544 w 4581525"/>
              <a:gd name="connsiteY101" fmla="*/ 1150144 h 4581525"/>
              <a:gd name="connsiteX102" fmla="*/ 3588544 w 4581525"/>
              <a:gd name="connsiteY102" fmla="*/ 3207544 h 4581525"/>
              <a:gd name="connsiteX103" fmla="*/ 3664744 w 4581525"/>
              <a:gd name="connsiteY103" fmla="*/ 3283744 h 4581525"/>
              <a:gd name="connsiteX104" fmla="*/ 3969544 w 4581525"/>
              <a:gd name="connsiteY104" fmla="*/ 3283744 h 4581525"/>
              <a:gd name="connsiteX105" fmla="*/ 4045744 w 4581525"/>
              <a:gd name="connsiteY105" fmla="*/ 3207544 h 4581525"/>
              <a:gd name="connsiteX106" fmla="*/ 4045744 w 4581525"/>
              <a:gd name="connsiteY106" fmla="*/ 1150144 h 4581525"/>
              <a:gd name="connsiteX107" fmla="*/ 3969544 w 4581525"/>
              <a:gd name="connsiteY107" fmla="*/ 1073944 h 4581525"/>
              <a:gd name="connsiteX108" fmla="*/ 3893344 w 4581525"/>
              <a:gd name="connsiteY108" fmla="*/ 3131344 h 4581525"/>
              <a:gd name="connsiteX109" fmla="*/ 3740944 w 4581525"/>
              <a:gd name="connsiteY109" fmla="*/ 3131344 h 4581525"/>
              <a:gd name="connsiteX110" fmla="*/ 3740944 w 4581525"/>
              <a:gd name="connsiteY110" fmla="*/ 1226344 h 4581525"/>
              <a:gd name="connsiteX111" fmla="*/ 3893344 w 4581525"/>
              <a:gd name="connsiteY111" fmla="*/ 1226344 h 4581525"/>
              <a:gd name="connsiteX112" fmla="*/ 3893344 w 4581525"/>
              <a:gd name="connsiteY112" fmla="*/ 3131344 h 458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581525" h="4581525">
                <a:moveTo>
                  <a:pt x="4041934" y="821531"/>
                </a:moveTo>
                <a:lnTo>
                  <a:pt x="3889534" y="364331"/>
                </a:lnTo>
                <a:cubicBezTo>
                  <a:pt x="3876199" y="324326"/>
                  <a:pt x="3833336" y="302419"/>
                  <a:pt x="3793331" y="315754"/>
                </a:cubicBezTo>
                <a:cubicBezTo>
                  <a:pt x="3789521" y="316706"/>
                  <a:pt x="3786664" y="318611"/>
                  <a:pt x="3782854" y="320516"/>
                </a:cubicBezTo>
                <a:lnTo>
                  <a:pt x="3325654" y="549116"/>
                </a:lnTo>
                <a:cubicBezTo>
                  <a:pt x="3287554" y="568166"/>
                  <a:pt x="3272314" y="613886"/>
                  <a:pt x="3291364" y="651034"/>
                </a:cubicBezTo>
                <a:cubicBezTo>
                  <a:pt x="3310414" y="688181"/>
                  <a:pt x="3356134" y="704374"/>
                  <a:pt x="3393281" y="685324"/>
                </a:cubicBezTo>
                <a:lnTo>
                  <a:pt x="3641884" y="560546"/>
                </a:lnTo>
                <a:cubicBezTo>
                  <a:pt x="2987516" y="1758791"/>
                  <a:pt x="1792129" y="2521744"/>
                  <a:pt x="540544" y="2521744"/>
                </a:cubicBezTo>
                <a:lnTo>
                  <a:pt x="540544" y="2674144"/>
                </a:lnTo>
                <a:cubicBezTo>
                  <a:pt x="1864519" y="2674144"/>
                  <a:pt x="3126581" y="1859756"/>
                  <a:pt x="3802856" y="585311"/>
                </a:cubicBezTo>
                <a:lnTo>
                  <a:pt x="3897154" y="869156"/>
                </a:lnTo>
                <a:cubicBezTo>
                  <a:pt x="3910489" y="909161"/>
                  <a:pt x="3953351" y="931069"/>
                  <a:pt x="3993356" y="917734"/>
                </a:cubicBezTo>
                <a:cubicBezTo>
                  <a:pt x="4033361" y="904399"/>
                  <a:pt x="4055269" y="861536"/>
                  <a:pt x="4041934" y="821531"/>
                </a:cubicBezTo>
                <a:close/>
                <a:moveTo>
                  <a:pt x="4502944" y="7144"/>
                </a:moveTo>
                <a:lnTo>
                  <a:pt x="83344" y="7144"/>
                </a:lnTo>
                <a:cubicBezTo>
                  <a:pt x="41434" y="7144"/>
                  <a:pt x="7144" y="41434"/>
                  <a:pt x="7144" y="83344"/>
                </a:cubicBezTo>
                <a:lnTo>
                  <a:pt x="7144" y="3512344"/>
                </a:lnTo>
                <a:cubicBezTo>
                  <a:pt x="7144" y="3554254"/>
                  <a:pt x="41434" y="3588544"/>
                  <a:pt x="83344" y="3588544"/>
                </a:cubicBezTo>
                <a:lnTo>
                  <a:pt x="1428274" y="3588544"/>
                </a:lnTo>
                <a:lnTo>
                  <a:pt x="1153954" y="4480084"/>
                </a:lnTo>
                <a:cubicBezTo>
                  <a:pt x="1141571" y="4520089"/>
                  <a:pt x="1164431" y="4562951"/>
                  <a:pt x="1204436" y="4575334"/>
                </a:cubicBezTo>
                <a:cubicBezTo>
                  <a:pt x="1244441" y="4587716"/>
                  <a:pt x="1287304" y="4564856"/>
                  <a:pt x="1299686" y="4524851"/>
                </a:cubicBezTo>
                <a:lnTo>
                  <a:pt x="1447324" y="4044791"/>
                </a:lnTo>
                <a:lnTo>
                  <a:pt x="3139916" y="4044791"/>
                </a:lnTo>
                <a:lnTo>
                  <a:pt x="3287554" y="4524851"/>
                </a:lnTo>
                <a:cubicBezTo>
                  <a:pt x="3299936" y="4564856"/>
                  <a:pt x="3342799" y="4587716"/>
                  <a:pt x="3382804" y="4575334"/>
                </a:cubicBezTo>
                <a:cubicBezTo>
                  <a:pt x="3422809" y="4562951"/>
                  <a:pt x="3445669" y="4520089"/>
                  <a:pt x="3433286" y="4480084"/>
                </a:cubicBezTo>
                <a:lnTo>
                  <a:pt x="3158014" y="3588544"/>
                </a:lnTo>
                <a:lnTo>
                  <a:pt x="4502944" y="3588544"/>
                </a:lnTo>
                <a:cubicBezTo>
                  <a:pt x="4544854" y="3588544"/>
                  <a:pt x="4579144" y="3554254"/>
                  <a:pt x="4579144" y="3512344"/>
                </a:cubicBezTo>
                <a:lnTo>
                  <a:pt x="4579144" y="83344"/>
                </a:lnTo>
                <a:cubicBezTo>
                  <a:pt x="4579144" y="41434"/>
                  <a:pt x="4544854" y="7144"/>
                  <a:pt x="4502944" y="7144"/>
                </a:cubicBezTo>
                <a:close/>
                <a:moveTo>
                  <a:pt x="1493996" y="3893344"/>
                </a:moveTo>
                <a:lnTo>
                  <a:pt x="1587341" y="3588544"/>
                </a:lnTo>
                <a:lnTo>
                  <a:pt x="2998946" y="3588544"/>
                </a:lnTo>
                <a:lnTo>
                  <a:pt x="3092291" y="3893344"/>
                </a:lnTo>
                <a:lnTo>
                  <a:pt x="1493996" y="3893344"/>
                </a:lnTo>
                <a:close/>
                <a:moveTo>
                  <a:pt x="4426744" y="3436144"/>
                </a:moveTo>
                <a:lnTo>
                  <a:pt x="159544" y="3436144"/>
                </a:lnTo>
                <a:lnTo>
                  <a:pt x="159544" y="159544"/>
                </a:lnTo>
                <a:lnTo>
                  <a:pt x="4426744" y="159544"/>
                </a:lnTo>
                <a:lnTo>
                  <a:pt x="4426744" y="3436144"/>
                </a:lnTo>
                <a:close/>
                <a:moveTo>
                  <a:pt x="921544" y="2826544"/>
                </a:moveTo>
                <a:lnTo>
                  <a:pt x="616744" y="2826544"/>
                </a:lnTo>
                <a:cubicBezTo>
                  <a:pt x="574834" y="2826544"/>
                  <a:pt x="540544" y="2860834"/>
                  <a:pt x="540544" y="2902744"/>
                </a:cubicBezTo>
                <a:lnTo>
                  <a:pt x="540544" y="3207544"/>
                </a:lnTo>
                <a:cubicBezTo>
                  <a:pt x="540544" y="3249454"/>
                  <a:pt x="574834" y="3283744"/>
                  <a:pt x="616744" y="3283744"/>
                </a:cubicBezTo>
                <a:lnTo>
                  <a:pt x="921544" y="3283744"/>
                </a:lnTo>
                <a:cubicBezTo>
                  <a:pt x="963454" y="3283744"/>
                  <a:pt x="997744" y="3249454"/>
                  <a:pt x="997744" y="3207544"/>
                </a:cubicBezTo>
                <a:lnTo>
                  <a:pt x="997744" y="2902744"/>
                </a:lnTo>
                <a:cubicBezTo>
                  <a:pt x="997744" y="2860834"/>
                  <a:pt x="963454" y="2826544"/>
                  <a:pt x="921544" y="2826544"/>
                </a:cubicBezTo>
                <a:close/>
                <a:moveTo>
                  <a:pt x="845344" y="3131344"/>
                </a:moveTo>
                <a:lnTo>
                  <a:pt x="692944" y="3131344"/>
                </a:lnTo>
                <a:lnTo>
                  <a:pt x="692944" y="2978944"/>
                </a:lnTo>
                <a:lnTo>
                  <a:pt x="845344" y="2978944"/>
                </a:lnTo>
                <a:lnTo>
                  <a:pt x="845344" y="3131344"/>
                </a:lnTo>
                <a:close/>
                <a:moveTo>
                  <a:pt x="1683544" y="2674144"/>
                </a:moveTo>
                <a:lnTo>
                  <a:pt x="1378744" y="2674144"/>
                </a:lnTo>
                <a:cubicBezTo>
                  <a:pt x="1336834" y="2674144"/>
                  <a:pt x="1302544" y="2708434"/>
                  <a:pt x="1302544" y="2750344"/>
                </a:cubicBezTo>
                <a:lnTo>
                  <a:pt x="1302544" y="3207544"/>
                </a:lnTo>
                <a:cubicBezTo>
                  <a:pt x="1302544" y="3249454"/>
                  <a:pt x="1336834" y="3283744"/>
                  <a:pt x="1378744" y="3283744"/>
                </a:cubicBezTo>
                <a:lnTo>
                  <a:pt x="1683544" y="3283744"/>
                </a:lnTo>
                <a:cubicBezTo>
                  <a:pt x="1725454" y="3283744"/>
                  <a:pt x="1759744" y="3249454"/>
                  <a:pt x="1759744" y="3207544"/>
                </a:cubicBezTo>
                <a:lnTo>
                  <a:pt x="1759744" y="2750344"/>
                </a:lnTo>
                <a:cubicBezTo>
                  <a:pt x="1759744" y="2708434"/>
                  <a:pt x="1725454" y="2674144"/>
                  <a:pt x="1683544" y="2674144"/>
                </a:cubicBezTo>
                <a:close/>
                <a:moveTo>
                  <a:pt x="1607344" y="3131344"/>
                </a:moveTo>
                <a:lnTo>
                  <a:pt x="1454944" y="3131344"/>
                </a:lnTo>
                <a:lnTo>
                  <a:pt x="1454944" y="2826544"/>
                </a:lnTo>
                <a:lnTo>
                  <a:pt x="1607344" y="2826544"/>
                </a:lnTo>
                <a:lnTo>
                  <a:pt x="1607344" y="3131344"/>
                </a:lnTo>
                <a:close/>
                <a:moveTo>
                  <a:pt x="2445544" y="2369344"/>
                </a:moveTo>
                <a:lnTo>
                  <a:pt x="2140744" y="2369344"/>
                </a:lnTo>
                <a:cubicBezTo>
                  <a:pt x="2098834" y="2369344"/>
                  <a:pt x="2064544" y="2403634"/>
                  <a:pt x="2064544" y="2445544"/>
                </a:cubicBezTo>
                <a:lnTo>
                  <a:pt x="2064544" y="3207544"/>
                </a:lnTo>
                <a:cubicBezTo>
                  <a:pt x="2064544" y="3249454"/>
                  <a:pt x="2098834" y="3283744"/>
                  <a:pt x="2140744" y="3283744"/>
                </a:cubicBezTo>
                <a:lnTo>
                  <a:pt x="2445544" y="3283744"/>
                </a:lnTo>
                <a:cubicBezTo>
                  <a:pt x="2487454" y="3283744"/>
                  <a:pt x="2521744" y="3249454"/>
                  <a:pt x="2521744" y="3207544"/>
                </a:cubicBezTo>
                <a:lnTo>
                  <a:pt x="2521744" y="2445544"/>
                </a:lnTo>
                <a:cubicBezTo>
                  <a:pt x="2521744" y="2403634"/>
                  <a:pt x="2487454" y="2369344"/>
                  <a:pt x="2445544" y="2369344"/>
                </a:cubicBezTo>
                <a:close/>
                <a:moveTo>
                  <a:pt x="2369344" y="3131344"/>
                </a:moveTo>
                <a:lnTo>
                  <a:pt x="2216944" y="3131344"/>
                </a:lnTo>
                <a:lnTo>
                  <a:pt x="2216944" y="2521744"/>
                </a:lnTo>
                <a:lnTo>
                  <a:pt x="2369344" y="2521744"/>
                </a:lnTo>
                <a:lnTo>
                  <a:pt x="2369344" y="3131344"/>
                </a:lnTo>
                <a:close/>
                <a:moveTo>
                  <a:pt x="3207544" y="1912144"/>
                </a:moveTo>
                <a:lnTo>
                  <a:pt x="2902744" y="1912144"/>
                </a:lnTo>
                <a:cubicBezTo>
                  <a:pt x="2860834" y="1912144"/>
                  <a:pt x="2826544" y="1946434"/>
                  <a:pt x="2826544" y="1988344"/>
                </a:cubicBezTo>
                <a:lnTo>
                  <a:pt x="2826544" y="3207544"/>
                </a:lnTo>
                <a:cubicBezTo>
                  <a:pt x="2826544" y="3249454"/>
                  <a:pt x="2860834" y="3283744"/>
                  <a:pt x="2902744" y="3283744"/>
                </a:cubicBezTo>
                <a:lnTo>
                  <a:pt x="3207544" y="3283744"/>
                </a:lnTo>
                <a:cubicBezTo>
                  <a:pt x="3249454" y="3283744"/>
                  <a:pt x="3283744" y="3249454"/>
                  <a:pt x="3283744" y="3207544"/>
                </a:cubicBezTo>
                <a:lnTo>
                  <a:pt x="3283744" y="1988344"/>
                </a:lnTo>
                <a:cubicBezTo>
                  <a:pt x="3283744" y="1946434"/>
                  <a:pt x="3249454" y="1912144"/>
                  <a:pt x="3207544" y="1912144"/>
                </a:cubicBezTo>
                <a:close/>
                <a:moveTo>
                  <a:pt x="3131344" y="3131344"/>
                </a:moveTo>
                <a:lnTo>
                  <a:pt x="2978944" y="3131344"/>
                </a:lnTo>
                <a:lnTo>
                  <a:pt x="2978944" y="2064544"/>
                </a:lnTo>
                <a:lnTo>
                  <a:pt x="3131344" y="2064544"/>
                </a:lnTo>
                <a:lnTo>
                  <a:pt x="3131344" y="3131344"/>
                </a:lnTo>
                <a:close/>
                <a:moveTo>
                  <a:pt x="3969544" y="1073944"/>
                </a:moveTo>
                <a:lnTo>
                  <a:pt x="3664744" y="1073944"/>
                </a:lnTo>
                <a:cubicBezTo>
                  <a:pt x="3622834" y="1073944"/>
                  <a:pt x="3588544" y="1108234"/>
                  <a:pt x="3588544" y="1150144"/>
                </a:cubicBezTo>
                <a:lnTo>
                  <a:pt x="3588544" y="3207544"/>
                </a:lnTo>
                <a:cubicBezTo>
                  <a:pt x="3588544" y="3249454"/>
                  <a:pt x="3622834" y="3283744"/>
                  <a:pt x="3664744" y="3283744"/>
                </a:cubicBezTo>
                <a:lnTo>
                  <a:pt x="3969544" y="3283744"/>
                </a:lnTo>
                <a:cubicBezTo>
                  <a:pt x="4011454" y="3283744"/>
                  <a:pt x="4045744" y="3249454"/>
                  <a:pt x="4045744" y="3207544"/>
                </a:cubicBezTo>
                <a:lnTo>
                  <a:pt x="4045744" y="1150144"/>
                </a:lnTo>
                <a:cubicBezTo>
                  <a:pt x="4045744" y="1108234"/>
                  <a:pt x="4011454" y="1073944"/>
                  <a:pt x="3969544" y="1073944"/>
                </a:cubicBezTo>
                <a:close/>
                <a:moveTo>
                  <a:pt x="3893344" y="3131344"/>
                </a:moveTo>
                <a:lnTo>
                  <a:pt x="3740944" y="3131344"/>
                </a:lnTo>
                <a:lnTo>
                  <a:pt x="3740944" y="1226344"/>
                </a:lnTo>
                <a:lnTo>
                  <a:pt x="3893344" y="1226344"/>
                </a:lnTo>
                <a:lnTo>
                  <a:pt x="3893344" y="3131344"/>
                </a:lnTo>
                <a:close/>
              </a:path>
            </a:pathLst>
          </a:custGeom>
          <a:solidFill>
            <a:srgbClr val="000000"/>
          </a:solidFill>
          <a:ln w="9525" cap="flat">
            <a:noFill/>
            <a:prstDash val="solid"/>
            <a:miter/>
          </a:ln>
        </p:spPr>
        <p:txBody>
          <a:bodyPr rtlCol="0" anchor="ctr"/>
          <a:lstStyle/>
          <a:p>
            <a:endParaRPr lang="sr-Latn-RS" sz="2400"/>
          </a:p>
        </p:txBody>
      </p:sp>
      <p:sp>
        <p:nvSpPr>
          <p:cNvPr id="15" name="TextBox 14">
            <a:extLst>
              <a:ext uri="{FF2B5EF4-FFF2-40B4-BE49-F238E27FC236}">
                <a16:creationId xmlns:a16="http://schemas.microsoft.com/office/drawing/2014/main" id="{8FB1C862-75F6-4E6B-8F2A-4820E8E2C017}"/>
              </a:ext>
            </a:extLst>
          </p:cNvPr>
          <p:cNvSpPr txBox="1"/>
          <p:nvPr/>
        </p:nvSpPr>
        <p:spPr>
          <a:xfrm>
            <a:off x="9247094" y="803102"/>
            <a:ext cx="2077002" cy="600164"/>
          </a:xfrm>
          <a:prstGeom prst="rect">
            <a:avLst/>
          </a:prstGeom>
          <a:noFill/>
        </p:spPr>
        <p:txBody>
          <a:bodyPr wrap="square">
            <a:spAutoFit/>
          </a:bodyPr>
          <a:lstStyle/>
          <a:p>
            <a:pPr lvl="2"/>
            <a:r>
              <a:rPr lang="en-US" sz="1100" i="1" dirty="0"/>
              <a:t>“</a:t>
            </a:r>
            <a:r>
              <a:rPr lang="en-US" sz="1100" i="1" u="sng" dirty="0"/>
              <a:t>improve the activities and processes</a:t>
            </a:r>
            <a:r>
              <a:rPr lang="en-US" sz="1100" i="1" dirty="0"/>
              <a:t>”</a:t>
            </a:r>
            <a:endParaRPr lang="en-US" sz="1100" dirty="0"/>
          </a:p>
        </p:txBody>
      </p:sp>
    </p:spTree>
    <p:extLst>
      <p:ext uri="{BB962C8B-B14F-4D97-AF65-F5344CB8AC3E}">
        <p14:creationId xmlns:p14="http://schemas.microsoft.com/office/powerpoint/2010/main" val="3224981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C9E12E-B644-483D-91C0-391C4A70895D}"/>
              </a:ext>
            </a:extLst>
          </p:cNvPr>
          <p:cNvSpPr>
            <a:spLocks noGrp="1"/>
          </p:cNvSpPr>
          <p:nvPr>
            <p:ph type="title"/>
          </p:nvPr>
        </p:nvSpPr>
        <p:spPr/>
        <p:txBody>
          <a:bodyPr/>
          <a:lstStyle/>
          <a:p>
            <a:r>
              <a:rPr lang="en-US" dirty="0"/>
              <a:t>D1.3 Improving a CCN pilot</a:t>
            </a:r>
            <a:br>
              <a:rPr lang="en-US" dirty="0"/>
            </a:br>
            <a:r>
              <a:rPr lang="en-US" dirty="0">
                <a:solidFill>
                  <a:schemeClr val="accent1"/>
                </a:solidFill>
              </a:rPr>
              <a:t>3.2 Transversal activities</a:t>
            </a:r>
            <a:br>
              <a:rPr lang="en-US" dirty="0">
                <a:solidFill>
                  <a:schemeClr val="accent1"/>
                </a:solidFill>
              </a:rPr>
            </a:br>
            <a:endParaRPr lang="en-US" dirty="0">
              <a:solidFill>
                <a:schemeClr val="accent1"/>
              </a:solidFill>
            </a:endParaRPr>
          </a:p>
        </p:txBody>
      </p:sp>
      <p:sp>
        <p:nvSpPr>
          <p:cNvPr id="16" name="Content Placeholder 4">
            <a:extLst>
              <a:ext uri="{FF2B5EF4-FFF2-40B4-BE49-F238E27FC236}">
                <a16:creationId xmlns:a16="http://schemas.microsoft.com/office/drawing/2014/main" id="{91BEEB64-9327-4F4C-BAA0-3A53ADC179D5}"/>
              </a:ext>
            </a:extLst>
          </p:cNvPr>
          <p:cNvSpPr txBox="1">
            <a:spLocks/>
          </p:cNvSpPr>
          <p:nvPr/>
        </p:nvSpPr>
        <p:spPr>
          <a:xfrm>
            <a:off x="578840" y="1442904"/>
            <a:ext cx="10089160" cy="4926617"/>
          </a:xfrm>
          <a:prstGeom prst="rect">
            <a:avLst/>
          </a:prstGeom>
        </p:spPr>
        <p:txBody>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cap="all" dirty="0">
                <a:solidFill>
                  <a:schemeClr val="tx1">
                    <a:lumMod val="75000"/>
                    <a:lumOff val="25000"/>
                  </a:schemeClr>
                </a:solidFill>
                <a:latin typeface="+mj-lt"/>
                <a:ea typeface="+mj-ea"/>
                <a:cs typeface="+mj-cs"/>
              </a:rPr>
              <a:t>WP11 Certification organization and support (CETIC, Philippe)</a:t>
            </a:r>
          </a:p>
          <a:p>
            <a:pPr lvl="1"/>
            <a:endParaRPr lang="en-US" b="1" dirty="0"/>
          </a:p>
          <a:p>
            <a:pPr lvl="1"/>
            <a:r>
              <a:rPr lang="en-US" b="1" dirty="0"/>
              <a:t>Year 1 bootstrapping</a:t>
            </a:r>
          </a:p>
          <a:p>
            <a:pPr lvl="1"/>
            <a:r>
              <a:rPr lang="en-US" b="1" dirty="0"/>
              <a:t>Initiatives + Recommendations (D1.2)</a:t>
            </a:r>
          </a:p>
          <a:p>
            <a:pPr lvl="2"/>
            <a:r>
              <a:rPr lang="en-US" dirty="0"/>
              <a:t>GC_I1: Technical Integration: Clarify the desirable and feasible level of integration between the technical components and results produced by WP4-WP7. Clarify the achievable level of alignment between the four technical programs on the one hand and both WP8 and WP11 on the other.</a:t>
            </a:r>
          </a:p>
          <a:p>
            <a:pPr lvl="2"/>
            <a:r>
              <a:rPr lang="en-US" dirty="0"/>
              <a:t>GC_I4: Open Source: WP5 and WP6 may need support to engage with the Open Source spectrum in an active and sustainable manner. Could the scope of WP11 be extended by an activity targeting relevant Open Source communities? Are there individuals within the consortium or its group of associates who can and are would act as champions?</a:t>
            </a:r>
          </a:p>
          <a:p>
            <a:pPr lvl="2"/>
            <a:r>
              <a:rPr lang="en-US" dirty="0"/>
              <a:t>GC_I6: Training: The data from the questionnaire and our technical analysis suggest a huge disconnect between WP11 and the technical programs. Is this indeed the case? Is this intentionally so? Would it be possible and desirable to establish trans-WP links?</a:t>
            </a:r>
          </a:p>
          <a:p>
            <a:pPr lvl="1"/>
            <a:r>
              <a:rPr lang="en-US" b="1" dirty="0"/>
              <a:t>Year 2</a:t>
            </a:r>
          </a:p>
          <a:p>
            <a:pPr lvl="2"/>
            <a:r>
              <a:rPr lang="en-US" dirty="0"/>
              <a:t>Report on improvements to the activities and processes</a:t>
            </a:r>
          </a:p>
          <a:p>
            <a:pPr lvl="2"/>
            <a:r>
              <a:rPr lang="en-US" dirty="0"/>
              <a:t>Risks: all considered relevant</a:t>
            </a:r>
          </a:p>
          <a:p>
            <a:pPr lvl="3"/>
            <a:r>
              <a:rPr lang="en-US" dirty="0"/>
              <a:t>WP11_1 Cybersecurity certification initiatives evolve during project duration -&gt; ENISA EU Cybersecurity Act (CSA)</a:t>
            </a:r>
          </a:p>
          <a:p>
            <a:pPr lvl="2"/>
            <a:endParaRPr lang="en-US" dirty="0"/>
          </a:p>
          <a:p>
            <a:pPr lvl="2"/>
            <a:endParaRPr lang="en-US" dirty="0"/>
          </a:p>
          <a:p>
            <a:pPr lvl="2"/>
            <a:endParaRPr lang="en-US" dirty="0"/>
          </a:p>
          <a:p>
            <a:pPr marL="0" indent="0">
              <a:buNone/>
            </a:pPr>
            <a:endParaRPr lang="en-US" dirty="0"/>
          </a:p>
        </p:txBody>
      </p:sp>
      <p:pic>
        <p:nvPicPr>
          <p:cNvPr id="5" name="Picture 4">
            <a:extLst>
              <a:ext uri="{FF2B5EF4-FFF2-40B4-BE49-F238E27FC236}">
                <a16:creationId xmlns:a16="http://schemas.microsoft.com/office/drawing/2014/main" id="{7D2E2237-8639-4C22-A90B-28335F62B041}"/>
              </a:ext>
            </a:extLst>
          </p:cNvPr>
          <p:cNvPicPr>
            <a:picLocks noChangeAspect="1"/>
          </p:cNvPicPr>
          <p:nvPr/>
        </p:nvPicPr>
        <p:blipFill rotWithShape="1">
          <a:blip r:embed="rId2"/>
          <a:srcRect l="28816" t="10352" r="40197" b="64754"/>
          <a:stretch/>
        </p:blipFill>
        <p:spPr>
          <a:xfrm>
            <a:off x="7507941" y="239028"/>
            <a:ext cx="2398793" cy="1048871"/>
          </a:xfrm>
          <a:prstGeom prst="rect">
            <a:avLst/>
          </a:prstGeom>
          <a:ln w="31750">
            <a:solidFill>
              <a:schemeClr val="accent1"/>
            </a:solidFill>
          </a:ln>
        </p:spPr>
      </p:pic>
      <p:sp>
        <p:nvSpPr>
          <p:cNvPr id="13" name="Freeform: Shape 12">
            <a:extLst>
              <a:ext uri="{FF2B5EF4-FFF2-40B4-BE49-F238E27FC236}">
                <a16:creationId xmlns:a16="http://schemas.microsoft.com/office/drawing/2014/main" id="{E73FE964-9788-497D-A4D0-397B86C68CDD}"/>
              </a:ext>
            </a:extLst>
          </p:cNvPr>
          <p:cNvSpPr>
            <a:spLocks noChangeAspect="1"/>
          </p:cNvSpPr>
          <p:nvPr/>
        </p:nvSpPr>
        <p:spPr>
          <a:xfrm>
            <a:off x="10356000" y="198646"/>
            <a:ext cx="624000" cy="624000"/>
          </a:xfrm>
          <a:custGeom>
            <a:avLst/>
            <a:gdLst>
              <a:gd name="connsiteX0" fmla="*/ 4041934 w 4581525"/>
              <a:gd name="connsiteY0" fmla="*/ 821531 h 4581525"/>
              <a:gd name="connsiteX1" fmla="*/ 3889534 w 4581525"/>
              <a:gd name="connsiteY1" fmla="*/ 364331 h 4581525"/>
              <a:gd name="connsiteX2" fmla="*/ 3793331 w 4581525"/>
              <a:gd name="connsiteY2" fmla="*/ 315754 h 4581525"/>
              <a:gd name="connsiteX3" fmla="*/ 3782854 w 4581525"/>
              <a:gd name="connsiteY3" fmla="*/ 320516 h 4581525"/>
              <a:gd name="connsiteX4" fmla="*/ 3325654 w 4581525"/>
              <a:gd name="connsiteY4" fmla="*/ 549116 h 4581525"/>
              <a:gd name="connsiteX5" fmla="*/ 3291364 w 4581525"/>
              <a:gd name="connsiteY5" fmla="*/ 651034 h 4581525"/>
              <a:gd name="connsiteX6" fmla="*/ 3393281 w 4581525"/>
              <a:gd name="connsiteY6" fmla="*/ 685324 h 4581525"/>
              <a:gd name="connsiteX7" fmla="*/ 3641884 w 4581525"/>
              <a:gd name="connsiteY7" fmla="*/ 560546 h 4581525"/>
              <a:gd name="connsiteX8" fmla="*/ 540544 w 4581525"/>
              <a:gd name="connsiteY8" fmla="*/ 2521744 h 4581525"/>
              <a:gd name="connsiteX9" fmla="*/ 540544 w 4581525"/>
              <a:gd name="connsiteY9" fmla="*/ 2674144 h 4581525"/>
              <a:gd name="connsiteX10" fmla="*/ 3802856 w 4581525"/>
              <a:gd name="connsiteY10" fmla="*/ 585311 h 4581525"/>
              <a:gd name="connsiteX11" fmla="*/ 3897154 w 4581525"/>
              <a:gd name="connsiteY11" fmla="*/ 869156 h 4581525"/>
              <a:gd name="connsiteX12" fmla="*/ 3993356 w 4581525"/>
              <a:gd name="connsiteY12" fmla="*/ 917734 h 4581525"/>
              <a:gd name="connsiteX13" fmla="*/ 4041934 w 4581525"/>
              <a:gd name="connsiteY13" fmla="*/ 821531 h 4581525"/>
              <a:gd name="connsiteX14" fmla="*/ 4502944 w 4581525"/>
              <a:gd name="connsiteY14" fmla="*/ 7144 h 4581525"/>
              <a:gd name="connsiteX15" fmla="*/ 83344 w 4581525"/>
              <a:gd name="connsiteY15" fmla="*/ 7144 h 4581525"/>
              <a:gd name="connsiteX16" fmla="*/ 7144 w 4581525"/>
              <a:gd name="connsiteY16" fmla="*/ 83344 h 4581525"/>
              <a:gd name="connsiteX17" fmla="*/ 7144 w 4581525"/>
              <a:gd name="connsiteY17" fmla="*/ 3512344 h 4581525"/>
              <a:gd name="connsiteX18" fmla="*/ 83344 w 4581525"/>
              <a:gd name="connsiteY18" fmla="*/ 3588544 h 4581525"/>
              <a:gd name="connsiteX19" fmla="*/ 1428274 w 4581525"/>
              <a:gd name="connsiteY19" fmla="*/ 3588544 h 4581525"/>
              <a:gd name="connsiteX20" fmla="*/ 1153954 w 4581525"/>
              <a:gd name="connsiteY20" fmla="*/ 4480084 h 4581525"/>
              <a:gd name="connsiteX21" fmla="*/ 1204436 w 4581525"/>
              <a:gd name="connsiteY21" fmla="*/ 4575334 h 4581525"/>
              <a:gd name="connsiteX22" fmla="*/ 1299686 w 4581525"/>
              <a:gd name="connsiteY22" fmla="*/ 4524851 h 4581525"/>
              <a:gd name="connsiteX23" fmla="*/ 1447324 w 4581525"/>
              <a:gd name="connsiteY23" fmla="*/ 4044791 h 4581525"/>
              <a:gd name="connsiteX24" fmla="*/ 3139916 w 4581525"/>
              <a:gd name="connsiteY24" fmla="*/ 4044791 h 4581525"/>
              <a:gd name="connsiteX25" fmla="*/ 3287554 w 4581525"/>
              <a:gd name="connsiteY25" fmla="*/ 4524851 h 4581525"/>
              <a:gd name="connsiteX26" fmla="*/ 3382804 w 4581525"/>
              <a:gd name="connsiteY26" fmla="*/ 4575334 h 4581525"/>
              <a:gd name="connsiteX27" fmla="*/ 3433286 w 4581525"/>
              <a:gd name="connsiteY27" fmla="*/ 4480084 h 4581525"/>
              <a:gd name="connsiteX28" fmla="*/ 3158014 w 4581525"/>
              <a:gd name="connsiteY28" fmla="*/ 3588544 h 4581525"/>
              <a:gd name="connsiteX29" fmla="*/ 4502944 w 4581525"/>
              <a:gd name="connsiteY29" fmla="*/ 3588544 h 4581525"/>
              <a:gd name="connsiteX30" fmla="*/ 4579144 w 4581525"/>
              <a:gd name="connsiteY30" fmla="*/ 3512344 h 4581525"/>
              <a:gd name="connsiteX31" fmla="*/ 4579144 w 4581525"/>
              <a:gd name="connsiteY31" fmla="*/ 83344 h 4581525"/>
              <a:gd name="connsiteX32" fmla="*/ 4502944 w 4581525"/>
              <a:gd name="connsiteY32" fmla="*/ 7144 h 4581525"/>
              <a:gd name="connsiteX33" fmla="*/ 1493996 w 4581525"/>
              <a:gd name="connsiteY33" fmla="*/ 3893344 h 4581525"/>
              <a:gd name="connsiteX34" fmla="*/ 1587341 w 4581525"/>
              <a:gd name="connsiteY34" fmla="*/ 3588544 h 4581525"/>
              <a:gd name="connsiteX35" fmla="*/ 2998946 w 4581525"/>
              <a:gd name="connsiteY35" fmla="*/ 3588544 h 4581525"/>
              <a:gd name="connsiteX36" fmla="*/ 3092291 w 4581525"/>
              <a:gd name="connsiteY36" fmla="*/ 3893344 h 4581525"/>
              <a:gd name="connsiteX37" fmla="*/ 1493996 w 4581525"/>
              <a:gd name="connsiteY37" fmla="*/ 3893344 h 4581525"/>
              <a:gd name="connsiteX38" fmla="*/ 4426744 w 4581525"/>
              <a:gd name="connsiteY38" fmla="*/ 3436144 h 4581525"/>
              <a:gd name="connsiteX39" fmla="*/ 159544 w 4581525"/>
              <a:gd name="connsiteY39" fmla="*/ 3436144 h 4581525"/>
              <a:gd name="connsiteX40" fmla="*/ 159544 w 4581525"/>
              <a:gd name="connsiteY40" fmla="*/ 159544 h 4581525"/>
              <a:gd name="connsiteX41" fmla="*/ 4426744 w 4581525"/>
              <a:gd name="connsiteY41" fmla="*/ 159544 h 4581525"/>
              <a:gd name="connsiteX42" fmla="*/ 4426744 w 4581525"/>
              <a:gd name="connsiteY42" fmla="*/ 3436144 h 4581525"/>
              <a:gd name="connsiteX43" fmla="*/ 921544 w 4581525"/>
              <a:gd name="connsiteY43" fmla="*/ 2826544 h 4581525"/>
              <a:gd name="connsiteX44" fmla="*/ 616744 w 4581525"/>
              <a:gd name="connsiteY44" fmla="*/ 2826544 h 4581525"/>
              <a:gd name="connsiteX45" fmla="*/ 540544 w 4581525"/>
              <a:gd name="connsiteY45" fmla="*/ 2902744 h 4581525"/>
              <a:gd name="connsiteX46" fmla="*/ 540544 w 4581525"/>
              <a:gd name="connsiteY46" fmla="*/ 3207544 h 4581525"/>
              <a:gd name="connsiteX47" fmla="*/ 616744 w 4581525"/>
              <a:gd name="connsiteY47" fmla="*/ 3283744 h 4581525"/>
              <a:gd name="connsiteX48" fmla="*/ 921544 w 4581525"/>
              <a:gd name="connsiteY48" fmla="*/ 3283744 h 4581525"/>
              <a:gd name="connsiteX49" fmla="*/ 997744 w 4581525"/>
              <a:gd name="connsiteY49" fmla="*/ 3207544 h 4581525"/>
              <a:gd name="connsiteX50" fmla="*/ 997744 w 4581525"/>
              <a:gd name="connsiteY50" fmla="*/ 2902744 h 4581525"/>
              <a:gd name="connsiteX51" fmla="*/ 921544 w 4581525"/>
              <a:gd name="connsiteY51" fmla="*/ 2826544 h 4581525"/>
              <a:gd name="connsiteX52" fmla="*/ 845344 w 4581525"/>
              <a:gd name="connsiteY52" fmla="*/ 3131344 h 4581525"/>
              <a:gd name="connsiteX53" fmla="*/ 692944 w 4581525"/>
              <a:gd name="connsiteY53" fmla="*/ 3131344 h 4581525"/>
              <a:gd name="connsiteX54" fmla="*/ 692944 w 4581525"/>
              <a:gd name="connsiteY54" fmla="*/ 2978944 h 4581525"/>
              <a:gd name="connsiteX55" fmla="*/ 845344 w 4581525"/>
              <a:gd name="connsiteY55" fmla="*/ 2978944 h 4581525"/>
              <a:gd name="connsiteX56" fmla="*/ 845344 w 4581525"/>
              <a:gd name="connsiteY56" fmla="*/ 3131344 h 4581525"/>
              <a:gd name="connsiteX57" fmla="*/ 1683544 w 4581525"/>
              <a:gd name="connsiteY57" fmla="*/ 2674144 h 4581525"/>
              <a:gd name="connsiteX58" fmla="*/ 1378744 w 4581525"/>
              <a:gd name="connsiteY58" fmla="*/ 2674144 h 4581525"/>
              <a:gd name="connsiteX59" fmla="*/ 1302544 w 4581525"/>
              <a:gd name="connsiteY59" fmla="*/ 2750344 h 4581525"/>
              <a:gd name="connsiteX60" fmla="*/ 1302544 w 4581525"/>
              <a:gd name="connsiteY60" fmla="*/ 3207544 h 4581525"/>
              <a:gd name="connsiteX61" fmla="*/ 1378744 w 4581525"/>
              <a:gd name="connsiteY61" fmla="*/ 3283744 h 4581525"/>
              <a:gd name="connsiteX62" fmla="*/ 1683544 w 4581525"/>
              <a:gd name="connsiteY62" fmla="*/ 3283744 h 4581525"/>
              <a:gd name="connsiteX63" fmla="*/ 1759744 w 4581525"/>
              <a:gd name="connsiteY63" fmla="*/ 3207544 h 4581525"/>
              <a:gd name="connsiteX64" fmla="*/ 1759744 w 4581525"/>
              <a:gd name="connsiteY64" fmla="*/ 2750344 h 4581525"/>
              <a:gd name="connsiteX65" fmla="*/ 1683544 w 4581525"/>
              <a:gd name="connsiteY65" fmla="*/ 2674144 h 4581525"/>
              <a:gd name="connsiteX66" fmla="*/ 1607344 w 4581525"/>
              <a:gd name="connsiteY66" fmla="*/ 3131344 h 4581525"/>
              <a:gd name="connsiteX67" fmla="*/ 1454944 w 4581525"/>
              <a:gd name="connsiteY67" fmla="*/ 3131344 h 4581525"/>
              <a:gd name="connsiteX68" fmla="*/ 1454944 w 4581525"/>
              <a:gd name="connsiteY68" fmla="*/ 2826544 h 4581525"/>
              <a:gd name="connsiteX69" fmla="*/ 1607344 w 4581525"/>
              <a:gd name="connsiteY69" fmla="*/ 2826544 h 4581525"/>
              <a:gd name="connsiteX70" fmla="*/ 1607344 w 4581525"/>
              <a:gd name="connsiteY70" fmla="*/ 3131344 h 4581525"/>
              <a:gd name="connsiteX71" fmla="*/ 2445544 w 4581525"/>
              <a:gd name="connsiteY71" fmla="*/ 2369344 h 4581525"/>
              <a:gd name="connsiteX72" fmla="*/ 2140744 w 4581525"/>
              <a:gd name="connsiteY72" fmla="*/ 2369344 h 4581525"/>
              <a:gd name="connsiteX73" fmla="*/ 2064544 w 4581525"/>
              <a:gd name="connsiteY73" fmla="*/ 2445544 h 4581525"/>
              <a:gd name="connsiteX74" fmla="*/ 2064544 w 4581525"/>
              <a:gd name="connsiteY74" fmla="*/ 3207544 h 4581525"/>
              <a:gd name="connsiteX75" fmla="*/ 2140744 w 4581525"/>
              <a:gd name="connsiteY75" fmla="*/ 3283744 h 4581525"/>
              <a:gd name="connsiteX76" fmla="*/ 2445544 w 4581525"/>
              <a:gd name="connsiteY76" fmla="*/ 3283744 h 4581525"/>
              <a:gd name="connsiteX77" fmla="*/ 2521744 w 4581525"/>
              <a:gd name="connsiteY77" fmla="*/ 3207544 h 4581525"/>
              <a:gd name="connsiteX78" fmla="*/ 2521744 w 4581525"/>
              <a:gd name="connsiteY78" fmla="*/ 2445544 h 4581525"/>
              <a:gd name="connsiteX79" fmla="*/ 2445544 w 4581525"/>
              <a:gd name="connsiteY79" fmla="*/ 2369344 h 4581525"/>
              <a:gd name="connsiteX80" fmla="*/ 2369344 w 4581525"/>
              <a:gd name="connsiteY80" fmla="*/ 3131344 h 4581525"/>
              <a:gd name="connsiteX81" fmla="*/ 2216944 w 4581525"/>
              <a:gd name="connsiteY81" fmla="*/ 3131344 h 4581525"/>
              <a:gd name="connsiteX82" fmla="*/ 2216944 w 4581525"/>
              <a:gd name="connsiteY82" fmla="*/ 2521744 h 4581525"/>
              <a:gd name="connsiteX83" fmla="*/ 2369344 w 4581525"/>
              <a:gd name="connsiteY83" fmla="*/ 2521744 h 4581525"/>
              <a:gd name="connsiteX84" fmla="*/ 2369344 w 4581525"/>
              <a:gd name="connsiteY84" fmla="*/ 3131344 h 4581525"/>
              <a:gd name="connsiteX85" fmla="*/ 3207544 w 4581525"/>
              <a:gd name="connsiteY85" fmla="*/ 1912144 h 4581525"/>
              <a:gd name="connsiteX86" fmla="*/ 2902744 w 4581525"/>
              <a:gd name="connsiteY86" fmla="*/ 1912144 h 4581525"/>
              <a:gd name="connsiteX87" fmla="*/ 2826544 w 4581525"/>
              <a:gd name="connsiteY87" fmla="*/ 1988344 h 4581525"/>
              <a:gd name="connsiteX88" fmla="*/ 2826544 w 4581525"/>
              <a:gd name="connsiteY88" fmla="*/ 3207544 h 4581525"/>
              <a:gd name="connsiteX89" fmla="*/ 2902744 w 4581525"/>
              <a:gd name="connsiteY89" fmla="*/ 3283744 h 4581525"/>
              <a:gd name="connsiteX90" fmla="*/ 3207544 w 4581525"/>
              <a:gd name="connsiteY90" fmla="*/ 3283744 h 4581525"/>
              <a:gd name="connsiteX91" fmla="*/ 3283744 w 4581525"/>
              <a:gd name="connsiteY91" fmla="*/ 3207544 h 4581525"/>
              <a:gd name="connsiteX92" fmla="*/ 3283744 w 4581525"/>
              <a:gd name="connsiteY92" fmla="*/ 1988344 h 4581525"/>
              <a:gd name="connsiteX93" fmla="*/ 3207544 w 4581525"/>
              <a:gd name="connsiteY93" fmla="*/ 1912144 h 4581525"/>
              <a:gd name="connsiteX94" fmla="*/ 3131344 w 4581525"/>
              <a:gd name="connsiteY94" fmla="*/ 3131344 h 4581525"/>
              <a:gd name="connsiteX95" fmla="*/ 2978944 w 4581525"/>
              <a:gd name="connsiteY95" fmla="*/ 3131344 h 4581525"/>
              <a:gd name="connsiteX96" fmla="*/ 2978944 w 4581525"/>
              <a:gd name="connsiteY96" fmla="*/ 2064544 h 4581525"/>
              <a:gd name="connsiteX97" fmla="*/ 3131344 w 4581525"/>
              <a:gd name="connsiteY97" fmla="*/ 2064544 h 4581525"/>
              <a:gd name="connsiteX98" fmla="*/ 3131344 w 4581525"/>
              <a:gd name="connsiteY98" fmla="*/ 3131344 h 4581525"/>
              <a:gd name="connsiteX99" fmla="*/ 3969544 w 4581525"/>
              <a:gd name="connsiteY99" fmla="*/ 1073944 h 4581525"/>
              <a:gd name="connsiteX100" fmla="*/ 3664744 w 4581525"/>
              <a:gd name="connsiteY100" fmla="*/ 1073944 h 4581525"/>
              <a:gd name="connsiteX101" fmla="*/ 3588544 w 4581525"/>
              <a:gd name="connsiteY101" fmla="*/ 1150144 h 4581525"/>
              <a:gd name="connsiteX102" fmla="*/ 3588544 w 4581525"/>
              <a:gd name="connsiteY102" fmla="*/ 3207544 h 4581525"/>
              <a:gd name="connsiteX103" fmla="*/ 3664744 w 4581525"/>
              <a:gd name="connsiteY103" fmla="*/ 3283744 h 4581525"/>
              <a:gd name="connsiteX104" fmla="*/ 3969544 w 4581525"/>
              <a:gd name="connsiteY104" fmla="*/ 3283744 h 4581525"/>
              <a:gd name="connsiteX105" fmla="*/ 4045744 w 4581525"/>
              <a:gd name="connsiteY105" fmla="*/ 3207544 h 4581525"/>
              <a:gd name="connsiteX106" fmla="*/ 4045744 w 4581525"/>
              <a:gd name="connsiteY106" fmla="*/ 1150144 h 4581525"/>
              <a:gd name="connsiteX107" fmla="*/ 3969544 w 4581525"/>
              <a:gd name="connsiteY107" fmla="*/ 1073944 h 4581525"/>
              <a:gd name="connsiteX108" fmla="*/ 3893344 w 4581525"/>
              <a:gd name="connsiteY108" fmla="*/ 3131344 h 4581525"/>
              <a:gd name="connsiteX109" fmla="*/ 3740944 w 4581525"/>
              <a:gd name="connsiteY109" fmla="*/ 3131344 h 4581525"/>
              <a:gd name="connsiteX110" fmla="*/ 3740944 w 4581525"/>
              <a:gd name="connsiteY110" fmla="*/ 1226344 h 4581525"/>
              <a:gd name="connsiteX111" fmla="*/ 3893344 w 4581525"/>
              <a:gd name="connsiteY111" fmla="*/ 1226344 h 4581525"/>
              <a:gd name="connsiteX112" fmla="*/ 3893344 w 4581525"/>
              <a:gd name="connsiteY112" fmla="*/ 3131344 h 458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581525" h="4581525">
                <a:moveTo>
                  <a:pt x="4041934" y="821531"/>
                </a:moveTo>
                <a:lnTo>
                  <a:pt x="3889534" y="364331"/>
                </a:lnTo>
                <a:cubicBezTo>
                  <a:pt x="3876199" y="324326"/>
                  <a:pt x="3833336" y="302419"/>
                  <a:pt x="3793331" y="315754"/>
                </a:cubicBezTo>
                <a:cubicBezTo>
                  <a:pt x="3789521" y="316706"/>
                  <a:pt x="3786664" y="318611"/>
                  <a:pt x="3782854" y="320516"/>
                </a:cubicBezTo>
                <a:lnTo>
                  <a:pt x="3325654" y="549116"/>
                </a:lnTo>
                <a:cubicBezTo>
                  <a:pt x="3287554" y="568166"/>
                  <a:pt x="3272314" y="613886"/>
                  <a:pt x="3291364" y="651034"/>
                </a:cubicBezTo>
                <a:cubicBezTo>
                  <a:pt x="3310414" y="688181"/>
                  <a:pt x="3356134" y="704374"/>
                  <a:pt x="3393281" y="685324"/>
                </a:cubicBezTo>
                <a:lnTo>
                  <a:pt x="3641884" y="560546"/>
                </a:lnTo>
                <a:cubicBezTo>
                  <a:pt x="2987516" y="1758791"/>
                  <a:pt x="1792129" y="2521744"/>
                  <a:pt x="540544" y="2521744"/>
                </a:cubicBezTo>
                <a:lnTo>
                  <a:pt x="540544" y="2674144"/>
                </a:lnTo>
                <a:cubicBezTo>
                  <a:pt x="1864519" y="2674144"/>
                  <a:pt x="3126581" y="1859756"/>
                  <a:pt x="3802856" y="585311"/>
                </a:cubicBezTo>
                <a:lnTo>
                  <a:pt x="3897154" y="869156"/>
                </a:lnTo>
                <a:cubicBezTo>
                  <a:pt x="3910489" y="909161"/>
                  <a:pt x="3953351" y="931069"/>
                  <a:pt x="3993356" y="917734"/>
                </a:cubicBezTo>
                <a:cubicBezTo>
                  <a:pt x="4033361" y="904399"/>
                  <a:pt x="4055269" y="861536"/>
                  <a:pt x="4041934" y="821531"/>
                </a:cubicBezTo>
                <a:close/>
                <a:moveTo>
                  <a:pt x="4502944" y="7144"/>
                </a:moveTo>
                <a:lnTo>
                  <a:pt x="83344" y="7144"/>
                </a:lnTo>
                <a:cubicBezTo>
                  <a:pt x="41434" y="7144"/>
                  <a:pt x="7144" y="41434"/>
                  <a:pt x="7144" y="83344"/>
                </a:cubicBezTo>
                <a:lnTo>
                  <a:pt x="7144" y="3512344"/>
                </a:lnTo>
                <a:cubicBezTo>
                  <a:pt x="7144" y="3554254"/>
                  <a:pt x="41434" y="3588544"/>
                  <a:pt x="83344" y="3588544"/>
                </a:cubicBezTo>
                <a:lnTo>
                  <a:pt x="1428274" y="3588544"/>
                </a:lnTo>
                <a:lnTo>
                  <a:pt x="1153954" y="4480084"/>
                </a:lnTo>
                <a:cubicBezTo>
                  <a:pt x="1141571" y="4520089"/>
                  <a:pt x="1164431" y="4562951"/>
                  <a:pt x="1204436" y="4575334"/>
                </a:cubicBezTo>
                <a:cubicBezTo>
                  <a:pt x="1244441" y="4587716"/>
                  <a:pt x="1287304" y="4564856"/>
                  <a:pt x="1299686" y="4524851"/>
                </a:cubicBezTo>
                <a:lnTo>
                  <a:pt x="1447324" y="4044791"/>
                </a:lnTo>
                <a:lnTo>
                  <a:pt x="3139916" y="4044791"/>
                </a:lnTo>
                <a:lnTo>
                  <a:pt x="3287554" y="4524851"/>
                </a:lnTo>
                <a:cubicBezTo>
                  <a:pt x="3299936" y="4564856"/>
                  <a:pt x="3342799" y="4587716"/>
                  <a:pt x="3382804" y="4575334"/>
                </a:cubicBezTo>
                <a:cubicBezTo>
                  <a:pt x="3422809" y="4562951"/>
                  <a:pt x="3445669" y="4520089"/>
                  <a:pt x="3433286" y="4480084"/>
                </a:cubicBezTo>
                <a:lnTo>
                  <a:pt x="3158014" y="3588544"/>
                </a:lnTo>
                <a:lnTo>
                  <a:pt x="4502944" y="3588544"/>
                </a:lnTo>
                <a:cubicBezTo>
                  <a:pt x="4544854" y="3588544"/>
                  <a:pt x="4579144" y="3554254"/>
                  <a:pt x="4579144" y="3512344"/>
                </a:cubicBezTo>
                <a:lnTo>
                  <a:pt x="4579144" y="83344"/>
                </a:lnTo>
                <a:cubicBezTo>
                  <a:pt x="4579144" y="41434"/>
                  <a:pt x="4544854" y="7144"/>
                  <a:pt x="4502944" y="7144"/>
                </a:cubicBezTo>
                <a:close/>
                <a:moveTo>
                  <a:pt x="1493996" y="3893344"/>
                </a:moveTo>
                <a:lnTo>
                  <a:pt x="1587341" y="3588544"/>
                </a:lnTo>
                <a:lnTo>
                  <a:pt x="2998946" y="3588544"/>
                </a:lnTo>
                <a:lnTo>
                  <a:pt x="3092291" y="3893344"/>
                </a:lnTo>
                <a:lnTo>
                  <a:pt x="1493996" y="3893344"/>
                </a:lnTo>
                <a:close/>
                <a:moveTo>
                  <a:pt x="4426744" y="3436144"/>
                </a:moveTo>
                <a:lnTo>
                  <a:pt x="159544" y="3436144"/>
                </a:lnTo>
                <a:lnTo>
                  <a:pt x="159544" y="159544"/>
                </a:lnTo>
                <a:lnTo>
                  <a:pt x="4426744" y="159544"/>
                </a:lnTo>
                <a:lnTo>
                  <a:pt x="4426744" y="3436144"/>
                </a:lnTo>
                <a:close/>
                <a:moveTo>
                  <a:pt x="921544" y="2826544"/>
                </a:moveTo>
                <a:lnTo>
                  <a:pt x="616744" y="2826544"/>
                </a:lnTo>
                <a:cubicBezTo>
                  <a:pt x="574834" y="2826544"/>
                  <a:pt x="540544" y="2860834"/>
                  <a:pt x="540544" y="2902744"/>
                </a:cubicBezTo>
                <a:lnTo>
                  <a:pt x="540544" y="3207544"/>
                </a:lnTo>
                <a:cubicBezTo>
                  <a:pt x="540544" y="3249454"/>
                  <a:pt x="574834" y="3283744"/>
                  <a:pt x="616744" y="3283744"/>
                </a:cubicBezTo>
                <a:lnTo>
                  <a:pt x="921544" y="3283744"/>
                </a:lnTo>
                <a:cubicBezTo>
                  <a:pt x="963454" y="3283744"/>
                  <a:pt x="997744" y="3249454"/>
                  <a:pt x="997744" y="3207544"/>
                </a:cubicBezTo>
                <a:lnTo>
                  <a:pt x="997744" y="2902744"/>
                </a:lnTo>
                <a:cubicBezTo>
                  <a:pt x="997744" y="2860834"/>
                  <a:pt x="963454" y="2826544"/>
                  <a:pt x="921544" y="2826544"/>
                </a:cubicBezTo>
                <a:close/>
                <a:moveTo>
                  <a:pt x="845344" y="3131344"/>
                </a:moveTo>
                <a:lnTo>
                  <a:pt x="692944" y="3131344"/>
                </a:lnTo>
                <a:lnTo>
                  <a:pt x="692944" y="2978944"/>
                </a:lnTo>
                <a:lnTo>
                  <a:pt x="845344" y="2978944"/>
                </a:lnTo>
                <a:lnTo>
                  <a:pt x="845344" y="3131344"/>
                </a:lnTo>
                <a:close/>
                <a:moveTo>
                  <a:pt x="1683544" y="2674144"/>
                </a:moveTo>
                <a:lnTo>
                  <a:pt x="1378744" y="2674144"/>
                </a:lnTo>
                <a:cubicBezTo>
                  <a:pt x="1336834" y="2674144"/>
                  <a:pt x="1302544" y="2708434"/>
                  <a:pt x="1302544" y="2750344"/>
                </a:cubicBezTo>
                <a:lnTo>
                  <a:pt x="1302544" y="3207544"/>
                </a:lnTo>
                <a:cubicBezTo>
                  <a:pt x="1302544" y="3249454"/>
                  <a:pt x="1336834" y="3283744"/>
                  <a:pt x="1378744" y="3283744"/>
                </a:cubicBezTo>
                <a:lnTo>
                  <a:pt x="1683544" y="3283744"/>
                </a:lnTo>
                <a:cubicBezTo>
                  <a:pt x="1725454" y="3283744"/>
                  <a:pt x="1759744" y="3249454"/>
                  <a:pt x="1759744" y="3207544"/>
                </a:cubicBezTo>
                <a:lnTo>
                  <a:pt x="1759744" y="2750344"/>
                </a:lnTo>
                <a:cubicBezTo>
                  <a:pt x="1759744" y="2708434"/>
                  <a:pt x="1725454" y="2674144"/>
                  <a:pt x="1683544" y="2674144"/>
                </a:cubicBezTo>
                <a:close/>
                <a:moveTo>
                  <a:pt x="1607344" y="3131344"/>
                </a:moveTo>
                <a:lnTo>
                  <a:pt x="1454944" y="3131344"/>
                </a:lnTo>
                <a:lnTo>
                  <a:pt x="1454944" y="2826544"/>
                </a:lnTo>
                <a:lnTo>
                  <a:pt x="1607344" y="2826544"/>
                </a:lnTo>
                <a:lnTo>
                  <a:pt x="1607344" y="3131344"/>
                </a:lnTo>
                <a:close/>
                <a:moveTo>
                  <a:pt x="2445544" y="2369344"/>
                </a:moveTo>
                <a:lnTo>
                  <a:pt x="2140744" y="2369344"/>
                </a:lnTo>
                <a:cubicBezTo>
                  <a:pt x="2098834" y="2369344"/>
                  <a:pt x="2064544" y="2403634"/>
                  <a:pt x="2064544" y="2445544"/>
                </a:cubicBezTo>
                <a:lnTo>
                  <a:pt x="2064544" y="3207544"/>
                </a:lnTo>
                <a:cubicBezTo>
                  <a:pt x="2064544" y="3249454"/>
                  <a:pt x="2098834" y="3283744"/>
                  <a:pt x="2140744" y="3283744"/>
                </a:cubicBezTo>
                <a:lnTo>
                  <a:pt x="2445544" y="3283744"/>
                </a:lnTo>
                <a:cubicBezTo>
                  <a:pt x="2487454" y="3283744"/>
                  <a:pt x="2521744" y="3249454"/>
                  <a:pt x="2521744" y="3207544"/>
                </a:cubicBezTo>
                <a:lnTo>
                  <a:pt x="2521744" y="2445544"/>
                </a:lnTo>
                <a:cubicBezTo>
                  <a:pt x="2521744" y="2403634"/>
                  <a:pt x="2487454" y="2369344"/>
                  <a:pt x="2445544" y="2369344"/>
                </a:cubicBezTo>
                <a:close/>
                <a:moveTo>
                  <a:pt x="2369344" y="3131344"/>
                </a:moveTo>
                <a:lnTo>
                  <a:pt x="2216944" y="3131344"/>
                </a:lnTo>
                <a:lnTo>
                  <a:pt x="2216944" y="2521744"/>
                </a:lnTo>
                <a:lnTo>
                  <a:pt x="2369344" y="2521744"/>
                </a:lnTo>
                <a:lnTo>
                  <a:pt x="2369344" y="3131344"/>
                </a:lnTo>
                <a:close/>
                <a:moveTo>
                  <a:pt x="3207544" y="1912144"/>
                </a:moveTo>
                <a:lnTo>
                  <a:pt x="2902744" y="1912144"/>
                </a:lnTo>
                <a:cubicBezTo>
                  <a:pt x="2860834" y="1912144"/>
                  <a:pt x="2826544" y="1946434"/>
                  <a:pt x="2826544" y="1988344"/>
                </a:cubicBezTo>
                <a:lnTo>
                  <a:pt x="2826544" y="3207544"/>
                </a:lnTo>
                <a:cubicBezTo>
                  <a:pt x="2826544" y="3249454"/>
                  <a:pt x="2860834" y="3283744"/>
                  <a:pt x="2902744" y="3283744"/>
                </a:cubicBezTo>
                <a:lnTo>
                  <a:pt x="3207544" y="3283744"/>
                </a:lnTo>
                <a:cubicBezTo>
                  <a:pt x="3249454" y="3283744"/>
                  <a:pt x="3283744" y="3249454"/>
                  <a:pt x="3283744" y="3207544"/>
                </a:cubicBezTo>
                <a:lnTo>
                  <a:pt x="3283744" y="1988344"/>
                </a:lnTo>
                <a:cubicBezTo>
                  <a:pt x="3283744" y="1946434"/>
                  <a:pt x="3249454" y="1912144"/>
                  <a:pt x="3207544" y="1912144"/>
                </a:cubicBezTo>
                <a:close/>
                <a:moveTo>
                  <a:pt x="3131344" y="3131344"/>
                </a:moveTo>
                <a:lnTo>
                  <a:pt x="2978944" y="3131344"/>
                </a:lnTo>
                <a:lnTo>
                  <a:pt x="2978944" y="2064544"/>
                </a:lnTo>
                <a:lnTo>
                  <a:pt x="3131344" y="2064544"/>
                </a:lnTo>
                <a:lnTo>
                  <a:pt x="3131344" y="3131344"/>
                </a:lnTo>
                <a:close/>
                <a:moveTo>
                  <a:pt x="3969544" y="1073944"/>
                </a:moveTo>
                <a:lnTo>
                  <a:pt x="3664744" y="1073944"/>
                </a:lnTo>
                <a:cubicBezTo>
                  <a:pt x="3622834" y="1073944"/>
                  <a:pt x="3588544" y="1108234"/>
                  <a:pt x="3588544" y="1150144"/>
                </a:cubicBezTo>
                <a:lnTo>
                  <a:pt x="3588544" y="3207544"/>
                </a:lnTo>
                <a:cubicBezTo>
                  <a:pt x="3588544" y="3249454"/>
                  <a:pt x="3622834" y="3283744"/>
                  <a:pt x="3664744" y="3283744"/>
                </a:cubicBezTo>
                <a:lnTo>
                  <a:pt x="3969544" y="3283744"/>
                </a:lnTo>
                <a:cubicBezTo>
                  <a:pt x="4011454" y="3283744"/>
                  <a:pt x="4045744" y="3249454"/>
                  <a:pt x="4045744" y="3207544"/>
                </a:cubicBezTo>
                <a:lnTo>
                  <a:pt x="4045744" y="1150144"/>
                </a:lnTo>
                <a:cubicBezTo>
                  <a:pt x="4045744" y="1108234"/>
                  <a:pt x="4011454" y="1073944"/>
                  <a:pt x="3969544" y="1073944"/>
                </a:cubicBezTo>
                <a:close/>
                <a:moveTo>
                  <a:pt x="3893344" y="3131344"/>
                </a:moveTo>
                <a:lnTo>
                  <a:pt x="3740944" y="3131344"/>
                </a:lnTo>
                <a:lnTo>
                  <a:pt x="3740944" y="1226344"/>
                </a:lnTo>
                <a:lnTo>
                  <a:pt x="3893344" y="1226344"/>
                </a:lnTo>
                <a:lnTo>
                  <a:pt x="3893344" y="3131344"/>
                </a:lnTo>
                <a:close/>
              </a:path>
            </a:pathLst>
          </a:custGeom>
          <a:solidFill>
            <a:srgbClr val="000000"/>
          </a:solidFill>
          <a:ln w="9525" cap="flat">
            <a:noFill/>
            <a:prstDash val="solid"/>
            <a:miter/>
          </a:ln>
        </p:spPr>
        <p:txBody>
          <a:bodyPr rtlCol="0" anchor="ctr"/>
          <a:lstStyle/>
          <a:p>
            <a:endParaRPr lang="sr-Latn-RS" sz="2400"/>
          </a:p>
        </p:txBody>
      </p:sp>
      <p:sp>
        <p:nvSpPr>
          <p:cNvPr id="15" name="TextBox 14">
            <a:extLst>
              <a:ext uri="{FF2B5EF4-FFF2-40B4-BE49-F238E27FC236}">
                <a16:creationId xmlns:a16="http://schemas.microsoft.com/office/drawing/2014/main" id="{8FB1C862-75F6-4E6B-8F2A-4820E8E2C017}"/>
              </a:ext>
            </a:extLst>
          </p:cNvPr>
          <p:cNvSpPr txBox="1"/>
          <p:nvPr/>
        </p:nvSpPr>
        <p:spPr>
          <a:xfrm>
            <a:off x="9247094" y="803102"/>
            <a:ext cx="2077002" cy="600164"/>
          </a:xfrm>
          <a:prstGeom prst="rect">
            <a:avLst/>
          </a:prstGeom>
          <a:noFill/>
        </p:spPr>
        <p:txBody>
          <a:bodyPr wrap="square">
            <a:spAutoFit/>
          </a:bodyPr>
          <a:lstStyle/>
          <a:p>
            <a:pPr lvl="2"/>
            <a:r>
              <a:rPr lang="en-US" sz="1100" i="1" dirty="0"/>
              <a:t>“</a:t>
            </a:r>
            <a:r>
              <a:rPr lang="en-US" sz="1100" i="1" u="sng" dirty="0"/>
              <a:t>improve the activities and processes</a:t>
            </a:r>
            <a:r>
              <a:rPr lang="en-US" sz="1100" i="1" dirty="0"/>
              <a:t>”</a:t>
            </a:r>
            <a:endParaRPr lang="en-US" sz="1100" dirty="0"/>
          </a:p>
        </p:txBody>
      </p:sp>
    </p:spTree>
    <p:extLst>
      <p:ext uri="{BB962C8B-B14F-4D97-AF65-F5344CB8AC3E}">
        <p14:creationId xmlns:p14="http://schemas.microsoft.com/office/powerpoint/2010/main" val="3839651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C9E12E-B644-483D-91C0-391C4A70895D}"/>
              </a:ext>
            </a:extLst>
          </p:cNvPr>
          <p:cNvSpPr>
            <a:spLocks noGrp="1"/>
          </p:cNvSpPr>
          <p:nvPr>
            <p:ph type="title"/>
          </p:nvPr>
        </p:nvSpPr>
        <p:spPr/>
        <p:txBody>
          <a:bodyPr/>
          <a:lstStyle/>
          <a:p>
            <a:r>
              <a:rPr lang="en-US" dirty="0"/>
              <a:t>D1.3 Improving a CCN pilot</a:t>
            </a:r>
            <a:br>
              <a:rPr lang="en-US" dirty="0"/>
            </a:br>
            <a:r>
              <a:rPr lang="en-US" dirty="0">
                <a:solidFill>
                  <a:schemeClr val="accent1"/>
                </a:solidFill>
              </a:rPr>
              <a:t>3.2 Transversal activities</a:t>
            </a:r>
            <a:br>
              <a:rPr lang="en-US" dirty="0">
                <a:solidFill>
                  <a:schemeClr val="accent1"/>
                </a:solidFill>
              </a:rPr>
            </a:br>
            <a:endParaRPr lang="en-US" dirty="0">
              <a:solidFill>
                <a:schemeClr val="accent1"/>
              </a:solidFill>
            </a:endParaRPr>
          </a:p>
        </p:txBody>
      </p:sp>
      <p:sp>
        <p:nvSpPr>
          <p:cNvPr id="16" name="Content Placeholder 4">
            <a:extLst>
              <a:ext uri="{FF2B5EF4-FFF2-40B4-BE49-F238E27FC236}">
                <a16:creationId xmlns:a16="http://schemas.microsoft.com/office/drawing/2014/main" id="{91BEEB64-9327-4F4C-BAA0-3A53ADC179D5}"/>
              </a:ext>
            </a:extLst>
          </p:cNvPr>
          <p:cNvSpPr txBox="1">
            <a:spLocks/>
          </p:cNvSpPr>
          <p:nvPr/>
        </p:nvSpPr>
        <p:spPr>
          <a:xfrm>
            <a:off x="578840" y="1442904"/>
            <a:ext cx="10089160" cy="4926617"/>
          </a:xfrm>
          <a:prstGeom prst="rect">
            <a:avLst/>
          </a:prstGeom>
        </p:spPr>
        <p:txBody>
          <a:bodyPr/>
          <a:lstStyle>
            <a:lvl1pPr marL="252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600" kern="1200" dirty="0">
                <a:solidFill>
                  <a:schemeClr val="tx1"/>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400" kern="1200" dirty="0">
                <a:solidFill>
                  <a:schemeClr val="tx1"/>
                </a:solidFill>
                <a:latin typeface="+mn-lt"/>
                <a:ea typeface="+mn-ea"/>
                <a:cs typeface="+mn-cs"/>
              </a:defRPr>
            </a:lvl3pPr>
            <a:lvl4pPr marL="1008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4pPr>
            <a:lvl5pPr marL="1260000" indent="-252000" algn="l" defTabSz="914400" rtl="0" eaLnBrk="1" latinLnBrk="0" hangingPunct="1">
              <a:lnSpc>
                <a:spcPct val="100000"/>
              </a:lnSpc>
              <a:spcBef>
                <a:spcPts val="0"/>
              </a:spcBef>
              <a:spcAft>
                <a:spcPts val="600"/>
              </a:spcAft>
              <a:buClr>
                <a:schemeClr val="accent1"/>
              </a:buClr>
              <a:buFont typeface="Wingdings 3" panose="05040102010807070707" pitchFamily="18" charset="2"/>
              <a:buChar char=""/>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cap="all" dirty="0">
                <a:solidFill>
                  <a:schemeClr val="tx1">
                    <a:lumMod val="75000"/>
                    <a:lumOff val="25000"/>
                  </a:schemeClr>
                </a:solidFill>
                <a:latin typeface="+mj-lt"/>
                <a:ea typeface="+mj-ea"/>
                <a:cs typeface="+mj-cs"/>
              </a:rPr>
              <a:t>WP12 Dissemination and communication (INOV, Nelson)</a:t>
            </a:r>
          </a:p>
          <a:p>
            <a:pPr lvl="1"/>
            <a:endParaRPr lang="en-US" b="1" dirty="0"/>
          </a:p>
          <a:p>
            <a:pPr lvl="1"/>
            <a:r>
              <a:rPr lang="en-US" b="1" dirty="0"/>
              <a:t>Year 1 bootstrapping</a:t>
            </a:r>
          </a:p>
          <a:p>
            <a:pPr lvl="1"/>
            <a:r>
              <a:rPr lang="en-US" b="1" dirty="0"/>
              <a:t>Initiatives + Recommendations (D1.2)</a:t>
            </a:r>
          </a:p>
          <a:p>
            <a:pPr lvl="1"/>
            <a:r>
              <a:rPr lang="en-US" b="1" dirty="0"/>
              <a:t>Year 2</a:t>
            </a:r>
          </a:p>
          <a:p>
            <a:pPr lvl="2"/>
            <a:r>
              <a:rPr lang="en-US" dirty="0"/>
              <a:t>Report on improvements to the activities and processes</a:t>
            </a:r>
          </a:p>
          <a:p>
            <a:pPr lvl="2"/>
            <a:r>
              <a:rPr lang="en-US" dirty="0"/>
              <a:t>Risks: all considered relevant</a:t>
            </a:r>
          </a:p>
          <a:p>
            <a:pPr lvl="2"/>
            <a:endParaRPr lang="en-US" dirty="0"/>
          </a:p>
          <a:p>
            <a:pPr marL="0" indent="0">
              <a:buNone/>
            </a:pPr>
            <a:endParaRPr lang="en-US" dirty="0"/>
          </a:p>
        </p:txBody>
      </p:sp>
      <p:pic>
        <p:nvPicPr>
          <p:cNvPr id="5" name="Picture 4">
            <a:extLst>
              <a:ext uri="{FF2B5EF4-FFF2-40B4-BE49-F238E27FC236}">
                <a16:creationId xmlns:a16="http://schemas.microsoft.com/office/drawing/2014/main" id="{7D2E2237-8639-4C22-A90B-28335F62B041}"/>
              </a:ext>
            </a:extLst>
          </p:cNvPr>
          <p:cNvPicPr>
            <a:picLocks noChangeAspect="1"/>
          </p:cNvPicPr>
          <p:nvPr/>
        </p:nvPicPr>
        <p:blipFill rotWithShape="1">
          <a:blip r:embed="rId2"/>
          <a:srcRect l="28816" t="10352" r="40197" b="64754"/>
          <a:stretch/>
        </p:blipFill>
        <p:spPr>
          <a:xfrm>
            <a:off x="7507941" y="239028"/>
            <a:ext cx="2398793" cy="1048871"/>
          </a:xfrm>
          <a:prstGeom prst="rect">
            <a:avLst/>
          </a:prstGeom>
          <a:ln w="31750">
            <a:solidFill>
              <a:schemeClr val="accent1"/>
            </a:solidFill>
          </a:ln>
        </p:spPr>
      </p:pic>
      <p:sp>
        <p:nvSpPr>
          <p:cNvPr id="13" name="Freeform: Shape 12">
            <a:extLst>
              <a:ext uri="{FF2B5EF4-FFF2-40B4-BE49-F238E27FC236}">
                <a16:creationId xmlns:a16="http://schemas.microsoft.com/office/drawing/2014/main" id="{E73FE964-9788-497D-A4D0-397B86C68CDD}"/>
              </a:ext>
            </a:extLst>
          </p:cNvPr>
          <p:cNvSpPr>
            <a:spLocks noChangeAspect="1"/>
          </p:cNvSpPr>
          <p:nvPr/>
        </p:nvSpPr>
        <p:spPr>
          <a:xfrm>
            <a:off x="10356000" y="198646"/>
            <a:ext cx="624000" cy="624000"/>
          </a:xfrm>
          <a:custGeom>
            <a:avLst/>
            <a:gdLst>
              <a:gd name="connsiteX0" fmla="*/ 4041934 w 4581525"/>
              <a:gd name="connsiteY0" fmla="*/ 821531 h 4581525"/>
              <a:gd name="connsiteX1" fmla="*/ 3889534 w 4581525"/>
              <a:gd name="connsiteY1" fmla="*/ 364331 h 4581525"/>
              <a:gd name="connsiteX2" fmla="*/ 3793331 w 4581525"/>
              <a:gd name="connsiteY2" fmla="*/ 315754 h 4581525"/>
              <a:gd name="connsiteX3" fmla="*/ 3782854 w 4581525"/>
              <a:gd name="connsiteY3" fmla="*/ 320516 h 4581525"/>
              <a:gd name="connsiteX4" fmla="*/ 3325654 w 4581525"/>
              <a:gd name="connsiteY4" fmla="*/ 549116 h 4581525"/>
              <a:gd name="connsiteX5" fmla="*/ 3291364 w 4581525"/>
              <a:gd name="connsiteY5" fmla="*/ 651034 h 4581525"/>
              <a:gd name="connsiteX6" fmla="*/ 3393281 w 4581525"/>
              <a:gd name="connsiteY6" fmla="*/ 685324 h 4581525"/>
              <a:gd name="connsiteX7" fmla="*/ 3641884 w 4581525"/>
              <a:gd name="connsiteY7" fmla="*/ 560546 h 4581525"/>
              <a:gd name="connsiteX8" fmla="*/ 540544 w 4581525"/>
              <a:gd name="connsiteY8" fmla="*/ 2521744 h 4581525"/>
              <a:gd name="connsiteX9" fmla="*/ 540544 w 4581525"/>
              <a:gd name="connsiteY9" fmla="*/ 2674144 h 4581525"/>
              <a:gd name="connsiteX10" fmla="*/ 3802856 w 4581525"/>
              <a:gd name="connsiteY10" fmla="*/ 585311 h 4581525"/>
              <a:gd name="connsiteX11" fmla="*/ 3897154 w 4581525"/>
              <a:gd name="connsiteY11" fmla="*/ 869156 h 4581525"/>
              <a:gd name="connsiteX12" fmla="*/ 3993356 w 4581525"/>
              <a:gd name="connsiteY12" fmla="*/ 917734 h 4581525"/>
              <a:gd name="connsiteX13" fmla="*/ 4041934 w 4581525"/>
              <a:gd name="connsiteY13" fmla="*/ 821531 h 4581525"/>
              <a:gd name="connsiteX14" fmla="*/ 4502944 w 4581525"/>
              <a:gd name="connsiteY14" fmla="*/ 7144 h 4581525"/>
              <a:gd name="connsiteX15" fmla="*/ 83344 w 4581525"/>
              <a:gd name="connsiteY15" fmla="*/ 7144 h 4581525"/>
              <a:gd name="connsiteX16" fmla="*/ 7144 w 4581525"/>
              <a:gd name="connsiteY16" fmla="*/ 83344 h 4581525"/>
              <a:gd name="connsiteX17" fmla="*/ 7144 w 4581525"/>
              <a:gd name="connsiteY17" fmla="*/ 3512344 h 4581525"/>
              <a:gd name="connsiteX18" fmla="*/ 83344 w 4581525"/>
              <a:gd name="connsiteY18" fmla="*/ 3588544 h 4581525"/>
              <a:gd name="connsiteX19" fmla="*/ 1428274 w 4581525"/>
              <a:gd name="connsiteY19" fmla="*/ 3588544 h 4581525"/>
              <a:gd name="connsiteX20" fmla="*/ 1153954 w 4581525"/>
              <a:gd name="connsiteY20" fmla="*/ 4480084 h 4581525"/>
              <a:gd name="connsiteX21" fmla="*/ 1204436 w 4581525"/>
              <a:gd name="connsiteY21" fmla="*/ 4575334 h 4581525"/>
              <a:gd name="connsiteX22" fmla="*/ 1299686 w 4581525"/>
              <a:gd name="connsiteY22" fmla="*/ 4524851 h 4581525"/>
              <a:gd name="connsiteX23" fmla="*/ 1447324 w 4581525"/>
              <a:gd name="connsiteY23" fmla="*/ 4044791 h 4581525"/>
              <a:gd name="connsiteX24" fmla="*/ 3139916 w 4581525"/>
              <a:gd name="connsiteY24" fmla="*/ 4044791 h 4581525"/>
              <a:gd name="connsiteX25" fmla="*/ 3287554 w 4581525"/>
              <a:gd name="connsiteY25" fmla="*/ 4524851 h 4581525"/>
              <a:gd name="connsiteX26" fmla="*/ 3382804 w 4581525"/>
              <a:gd name="connsiteY26" fmla="*/ 4575334 h 4581525"/>
              <a:gd name="connsiteX27" fmla="*/ 3433286 w 4581525"/>
              <a:gd name="connsiteY27" fmla="*/ 4480084 h 4581525"/>
              <a:gd name="connsiteX28" fmla="*/ 3158014 w 4581525"/>
              <a:gd name="connsiteY28" fmla="*/ 3588544 h 4581525"/>
              <a:gd name="connsiteX29" fmla="*/ 4502944 w 4581525"/>
              <a:gd name="connsiteY29" fmla="*/ 3588544 h 4581525"/>
              <a:gd name="connsiteX30" fmla="*/ 4579144 w 4581525"/>
              <a:gd name="connsiteY30" fmla="*/ 3512344 h 4581525"/>
              <a:gd name="connsiteX31" fmla="*/ 4579144 w 4581525"/>
              <a:gd name="connsiteY31" fmla="*/ 83344 h 4581525"/>
              <a:gd name="connsiteX32" fmla="*/ 4502944 w 4581525"/>
              <a:gd name="connsiteY32" fmla="*/ 7144 h 4581525"/>
              <a:gd name="connsiteX33" fmla="*/ 1493996 w 4581525"/>
              <a:gd name="connsiteY33" fmla="*/ 3893344 h 4581525"/>
              <a:gd name="connsiteX34" fmla="*/ 1587341 w 4581525"/>
              <a:gd name="connsiteY34" fmla="*/ 3588544 h 4581525"/>
              <a:gd name="connsiteX35" fmla="*/ 2998946 w 4581525"/>
              <a:gd name="connsiteY35" fmla="*/ 3588544 h 4581525"/>
              <a:gd name="connsiteX36" fmla="*/ 3092291 w 4581525"/>
              <a:gd name="connsiteY36" fmla="*/ 3893344 h 4581525"/>
              <a:gd name="connsiteX37" fmla="*/ 1493996 w 4581525"/>
              <a:gd name="connsiteY37" fmla="*/ 3893344 h 4581525"/>
              <a:gd name="connsiteX38" fmla="*/ 4426744 w 4581525"/>
              <a:gd name="connsiteY38" fmla="*/ 3436144 h 4581525"/>
              <a:gd name="connsiteX39" fmla="*/ 159544 w 4581525"/>
              <a:gd name="connsiteY39" fmla="*/ 3436144 h 4581525"/>
              <a:gd name="connsiteX40" fmla="*/ 159544 w 4581525"/>
              <a:gd name="connsiteY40" fmla="*/ 159544 h 4581525"/>
              <a:gd name="connsiteX41" fmla="*/ 4426744 w 4581525"/>
              <a:gd name="connsiteY41" fmla="*/ 159544 h 4581525"/>
              <a:gd name="connsiteX42" fmla="*/ 4426744 w 4581525"/>
              <a:gd name="connsiteY42" fmla="*/ 3436144 h 4581525"/>
              <a:gd name="connsiteX43" fmla="*/ 921544 w 4581525"/>
              <a:gd name="connsiteY43" fmla="*/ 2826544 h 4581525"/>
              <a:gd name="connsiteX44" fmla="*/ 616744 w 4581525"/>
              <a:gd name="connsiteY44" fmla="*/ 2826544 h 4581525"/>
              <a:gd name="connsiteX45" fmla="*/ 540544 w 4581525"/>
              <a:gd name="connsiteY45" fmla="*/ 2902744 h 4581525"/>
              <a:gd name="connsiteX46" fmla="*/ 540544 w 4581525"/>
              <a:gd name="connsiteY46" fmla="*/ 3207544 h 4581525"/>
              <a:gd name="connsiteX47" fmla="*/ 616744 w 4581525"/>
              <a:gd name="connsiteY47" fmla="*/ 3283744 h 4581525"/>
              <a:gd name="connsiteX48" fmla="*/ 921544 w 4581525"/>
              <a:gd name="connsiteY48" fmla="*/ 3283744 h 4581525"/>
              <a:gd name="connsiteX49" fmla="*/ 997744 w 4581525"/>
              <a:gd name="connsiteY49" fmla="*/ 3207544 h 4581525"/>
              <a:gd name="connsiteX50" fmla="*/ 997744 w 4581525"/>
              <a:gd name="connsiteY50" fmla="*/ 2902744 h 4581525"/>
              <a:gd name="connsiteX51" fmla="*/ 921544 w 4581525"/>
              <a:gd name="connsiteY51" fmla="*/ 2826544 h 4581525"/>
              <a:gd name="connsiteX52" fmla="*/ 845344 w 4581525"/>
              <a:gd name="connsiteY52" fmla="*/ 3131344 h 4581525"/>
              <a:gd name="connsiteX53" fmla="*/ 692944 w 4581525"/>
              <a:gd name="connsiteY53" fmla="*/ 3131344 h 4581525"/>
              <a:gd name="connsiteX54" fmla="*/ 692944 w 4581525"/>
              <a:gd name="connsiteY54" fmla="*/ 2978944 h 4581525"/>
              <a:gd name="connsiteX55" fmla="*/ 845344 w 4581525"/>
              <a:gd name="connsiteY55" fmla="*/ 2978944 h 4581525"/>
              <a:gd name="connsiteX56" fmla="*/ 845344 w 4581525"/>
              <a:gd name="connsiteY56" fmla="*/ 3131344 h 4581525"/>
              <a:gd name="connsiteX57" fmla="*/ 1683544 w 4581525"/>
              <a:gd name="connsiteY57" fmla="*/ 2674144 h 4581525"/>
              <a:gd name="connsiteX58" fmla="*/ 1378744 w 4581525"/>
              <a:gd name="connsiteY58" fmla="*/ 2674144 h 4581525"/>
              <a:gd name="connsiteX59" fmla="*/ 1302544 w 4581525"/>
              <a:gd name="connsiteY59" fmla="*/ 2750344 h 4581525"/>
              <a:gd name="connsiteX60" fmla="*/ 1302544 w 4581525"/>
              <a:gd name="connsiteY60" fmla="*/ 3207544 h 4581525"/>
              <a:gd name="connsiteX61" fmla="*/ 1378744 w 4581525"/>
              <a:gd name="connsiteY61" fmla="*/ 3283744 h 4581525"/>
              <a:gd name="connsiteX62" fmla="*/ 1683544 w 4581525"/>
              <a:gd name="connsiteY62" fmla="*/ 3283744 h 4581525"/>
              <a:gd name="connsiteX63" fmla="*/ 1759744 w 4581525"/>
              <a:gd name="connsiteY63" fmla="*/ 3207544 h 4581525"/>
              <a:gd name="connsiteX64" fmla="*/ 1759744 w 4581525"/>
              <a:gd name="connsiteY64" fmla="*/ 2750344 h 4581525"/>
              <a:gd name="connsiteX65" fmla="*/ 1683544 w 4581525"/>
              <a:gd name="connsiteY65" fmla="*/ 2674144 h 4581525"/>
              <a:gd name="connsiteX66" fmla="*/ 1607344 w 4581525"/>
              <a:gd name="connsiteY66" fmla="*/ 3131344 h 4581525"/>
              <a:gd name="connsiteX67" fmla="*/ 1454944 w 4581525"/>
              <a:gd name="connsiteY67" fmla="*/ 3131344 h 4581525"/>
              <a:gd name="connsiteX68" fmla="*/ 1454944 w 4581525"/>
              <a:gd name="connsiteY68" fmla="*/ 2826544 h 4581525"/>
              <a:gd name="connsiteX69" fmla="*/ 1607344 w 4581525"/>
              <a:gd name="connsiteY69" fmla="*/ 2826544 h 4581525"/>
              <a:gd name="connsiteX70" fmla="*/ 1607344 w 4581525"/>
              <a:gd name="connsiteY70" fmla="*/ 3131344 h 4581525"/>
              <a:gd name="connsiteX71" fmla="*/ 2445544 w 4581525"/>
              <a:gd name="connsiteY71" fmla="*/ 2369344 h 4581525"/>
              <a:gd name="connsiteX72" fmla="*/ 2140744 w 4581525"/>
              <a:gd name="connsiteY72" fmla="*/ 2369344 h 4581525"/>
              <a:gd name="connsiteX73" fmla="*/ 2064544 w 4581525"/>
              <a:gd name="connsiteY73" fmla="*/ 2445544 h 4581525"/>
              <a:gd name="connsiteX74" fmla="*/ 2064544 w 4581525"/>
              <a:gd name="connsiteY74" fmla="*/ 3207544 h 4581525"/>
              <a:gd name="connsiteX75" fmla="*/ 2140744 w 4581525"/>
              <a:gd name="connsiteY75" fmla="*/ 3283744 h 4581525"/>
              <a:gd name="connsiteX76" fmla="*/ 2445544 w 4581525"/>
              <a:gd name="connsiteY76" fmla="*/ 3283744 h 4581525"/>
              <a:gd name="connsiteX77" fmla="*/ 2521744 w 4581525"/>
              <a:gd name="connsiteY77" fmla="*/ 3207544 h 4581525"/>
              <a:gd name="connsiteX78" fmla="*/ 2521744 w 4581525"/>
              <a:gd name="connsiteY78" fmla="*/ 2445544 h 4581525"/>
              <a:gd name="connsiteX79" fmla="*/ 2445544 w 4581525"/>
              <a:gd name="connsiteY79" fmla="*/ 2369344 h 4581525"/>
              <a:gd name="connsiteX80" fmla="*/ 2369344 w 4581525"/>
              <a:gd name="connsiteY80" fmla="*/ 3131344 h 4581525"/>
              <a:gd name="connsiteX81" fmla="*/ 2216944 w 4581525"/>
              <a:gd name="connsiteY81" fmla="*/ 3131344 h 4581525"/>
              <a:gd name="connsiteX82" fmla="*/ 2216944 w 4581525"/>
              <a:gd name="connsiteY82" fmla="*/ 2521744 h 4581525"/>
              <a:gd name="connsiteX83" fmla="*/ 2369344 w 4581525"/>
              <a:gd name="connsiteY83" fmla="*/ 2521744 h 4581525"/>
              <a:gd name="connsiteX84" fmla="*/ 2369344 w 4581525"/>
              <a:gd name="connsiteY84" fmla="*/ 3131344 h 4581525"/>
              <a:gd name="connsiteX85" fmla="*/ 3207544 w 4581525"/>
              <a:gd name="connsiteY85" fmla="*/ 1912144 h 4581525"/>
              <a:gd name="connsiteX86" fmla="*/ 2902744 w 4581525"/>
              <a:gd name="connsiteY86" fmla="*/ 1912144 h 4581525"/>
              <a:gd name="connsiteX87" fmla="*/ 2826544 w 4581525"/>
              <a:gd name="connsiteY87" fmla="*/ 1988344 h 4581525"/>
              <a:gd name="connsiteX88" fmla="*/ 2826544 w 4581525"/>
              <a:gd name="connsiteY88" fmla="*/ 3207544 h 4581525"/>
              <a:gd name="connsiteX89" fmla="*/ 2902744 w 4581525"/>
              <a:gd name="connsiteY89" fmla="*/ 3283744 h 4581525"/>
              <a:gd name="connsiteX90" fmla="*/ 3207544 w 4581525"/>
              <a:gd name="connsiteY90" fmla="*/ 3283744 h 4581525"/>
              <a:gd name="connsiteX91" fmla="*/ 3283744 w 4581525"/>
              <a:gd name="connsiteY91" fmla="*/ 3207544 h 4581525"/>
              <a:gd name="connsiteX92" fmla="*/ 3283744 w 4581525"/>
              <a:gd name="connsiteY92" fmla="*/ 1988344 h 4581525"/>
              <a:gd name="connsiteX93" fmla="*/ 3207544 w 4581525"/>
              <a:gd name="connsiteY93" fmla="*/ 1912144 h 4581525"/>
              <a:gd name="connsiteX94" fmla="*/ 3131344 w 4581525"/>
              <a:gd name="connsiteY94" fmla="*/ 3131344 h 4581525"/>
              <a:gd name="connsiteX95" fmla="*/ 2978944 w 4581525"/>
              <a:gd name="connsiteY95" fmla="*/ 3131344 h 4581525"/>
              <a:gd name="connsiteX96" fmla="*/ 2978944 w 4581525"/>
              <a:gd name="connsiteY96" fmla="*/ 2064544 h 4581525"/>
              <a:gd name="connsiteX97" fmla="*/ 3131344 w 4581525"/>
              <a:gd name="connsiteY97" fmla="*/ 2064544 h 4581525"/>
              <a:gd name="connsiteX98" fmla="*/ 3131344 w 4581525"/>
              <a:gd name="connsiteY98" fmla="*/ 3131344 h 4581525"/>
              <a:gd name="connsiteX99" fmla="*/ 3969544 w 4581525"/>
              <a:gd name="connsiteY99" fmla="*/ 1073944 h 4581525"/>
              <a:gd name="connsiteX100" fmla="*/ 3664744 w 4581525"/>
              <a:gd name="connsiteY100" fmla="*/ 1073944 h 4581525"/>
              <a:gd name="connsiteX101" fmla="*/ 3588544 w 4581525"/>
              <a:gd name="connsiteY101" fmla="*/ 1150144 h 4581525"/>
              <a:gd name="connsiteX102" fmla="*/ 3588544 w 4581525"/>
              <a:gd name="connsiteY102" fmla="*/ 3207544 h 4581525"/>
              <a:gd name="connsiteX103" fmla="*/ 3664744 w 4581525"/>
              <a:gd name="connsiteY103" fmla="*/ 3283744 h 4581525"/>
              <a:gd name="connsiteX104" fmla="*/ 3969544 w 4581525"/>
              <a:gd name="connsiteY104" fmla="*/ 3283744 h 4581525"/>
              <a:gd name="connsiteX105" fmla="*/ 4045744 w 4581525"/>
              <a:gd name="connsiteY105" fmla="*/ 3207544 h 4581525"/>
              <a:gd name="connsiteX106" fmla="*/ 4045744 w 4581525"/>
              <a:gd name="connsiteY106" fmla="*/ 1150144 h 4581525"/>
              <a:gd name="connsiteX107" fmla="*/ 3969544 w 4581525"/>
              <a:gd name="connsiteY107" fmla="*/ 1073944 h 4581525"/>
              <a:gd name="connsiteX108" fmla="*/ 3893344 w 4581525"/>
              <a:gd name="connsiteY108" fmla="*/ 3131344 h 4581525"/>
              <a:gd name="connsiteX109" fmla="*/ 3740944 w 4581525"/>
              <a:gd name="connsiteY109" fmla="*/ 3131344 h 4581525"/>
              <a:gd name="connsiteX110" fmla="*/ 3740944 w 4581525"/>
              <a:gd name="connsiteY110" fmla="*/ 1226344 h 4581525"/>
              <a:gd name="connsiteX111" fmla="*/ 3893344 w 4581525"/>
              <a:gd name="connsiteY111" fmla="*/ 1226344 h 4581525"/>
              <a:gd name="connsiteX112" fmla="*/ 3893344 w 4581525"/>
              <a:gd name="connsiteY112" fmla="*/ 3131344 h 458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581525" h="4581525">
                <a:moveTo>
                  <a:pt x="4041934" y="821531"/>
                </a:moveTo>
                <a:lnTo>
                  <a:pt x="3889534" y="364331"/>
                </a:lnTo>
                <a:cubicBezTo>
                  <a:pt x="3876199" y="324326"/>
                  <a:pt x="3833336" y="302419"/>
                  <a:pt x="3793331" y="315754"/>
                </a:cubicBezTo>
                <a:cubicBezTo>
                  <a:pt x="3789521" y="316706"/>
                  <a:pt x="3786664" y="318611"/>
                  <a:pt x="3782854" y="320516"/>
                </a:cubicBezTo>
                <a:lnTo>
                  <a:pt x="3325654" y="549116"/>
                </a:lnTo>
                <a:cubicBezTo>
                  <a:pt x="3287554" y="568166"/>
                  <a:pt x="3272314" y="613886"/>
                  <a:pt x="3291364" y="651034"/>
                </a:cubicBezTo>
                <a:cubicBezTo>
                  <a:pt x="3310414" y="688181"/>
                  <a:pt x="3356134" y="704374"/>
                  <a:pt x="3393281" y="685324"/>
                </a:cubicBezTo>
                <a:lnTo>
                  <a:pt x="3641884" y="560546"/>
                </a:lnTo>
                <a:cubicBezTo>
                  <a:pt x="2987516" y="1758791"/>
                  <a:pt x="1792129" y="2521744"/>
                  <a:pt x="540544" y="2521744"/>
                </a:cubicBezTo>
                <a:lnTo>
                  <a:pt x="540544" y="2674144"/>
                </a:lnTo>
                <a:cubicBezTo>
                  <a:pt x="1864519" y="2674144"/>
                  <a:pt x="3126581" y="1859756"/>
                  <a:pt x="3802856" y="585311"/>
                </a:cubicBezTo>
                <a:lnTo>
                  <a:pt x="3897154" y="869156"/>
                </a:lnTo>
                <a:cubicBezTo>
                  <a:pt x="3910489" y="909161"/>
                  <a:pt x="3953351" y="931069"/>
                  <a:pt x="3993356" y="917734"/>
                </a:cubicBezTo>
                <a:cubicBezTo>
                  <a:pt x="4033361" y="904399"/>
                  <a:pt x="4055269" y="861536"/>
                  <a:pt x="4041934" y="821531"/>
                </a:cubicBezTo>
                <a:close/>
                <a:moveTo>
                  <a:pt x="4502944" y="7144"/>
                </a:moveTo>
                <a:lnTo>
                  <a:pt x="83344" y="7144"/>
                </a:lnTo>
                <a:cubicBezTo>
                  <a:pt x="41434" y="7144"/>
                  <a:pt x="7144" y="41434"/>
                  <a:pt x="7144" y="83344"/>
                </a:cubicBezTo>
                <a:lnTo>
                  <a:pt x="7144" y="3512344"/>
                </a:lnTo>
                <a:cubicBezTo>
                  <a:pt x="7144" y="3554254"/>
                  <a:pt x="41434" y="3588544"/>
                  <a:pt x="83344" y="3588544"/>
                </a:cubicBezTo>
                <a:lnTo>
                  <a:pt x="1428274" y="3588544"/>
                </a:lnTo>
                <a:lnTo>
                  <a:pt x="1153954" y="4480084"/>
                </a:lnTo>
                <a:cubicBezTo>
                  <a:pt x="1141571" y="4520089"/>
                  <a:pt x="1164431" y="4562951"/>
                  <a:pt x="1204436" y="4575334"/>
                </a:cubicBezTo>
                <a:cubicBezTo>
                  <a:pt x="1244441" y="4587716"/>
                  <a:pt x="1287304" y="4564856"/>
                  <a:pt x="1299686" y="4524851"/>
                </a:cubicBezTo>
                <a:lnTo>
                  <a:pt x="1447324" y="4044791"/>
                </a:lnTo>
                <a:lnTo>
                  <a:pt x="3139916" y="4044791"/>
                </a:lnTo>
                <a:lnTo>
                  <a:pt x="3287554" y="4524851"/>
                </a:lnTo>
                <a:cubicBezTo>
                  <a:pt x="3299936" y="4564856"/>
                  <a:pt x="3342799" y="4587716"/>
                  <a:pt x="3382804" y="4575334"/>
                </a:cubicBezTo>
                <a:cubicBezTo>
                  <a:pt x="3422809" y="4562951"/>
                  <a:pt x="3445669" y="4520089"/>
                  <a:pt x="3433286" y="4480084"/>
                </a:cubicBezTo>
                <a:lnTo>
                  <a:pt x="3158014" y="3588544"/>
                </a:lnTo>
                <a:lnTo>
                  <a:pt x="4502944" y="3588544"/>
                </a:lnTo>
                <a:cubicBezTo>
                  <a:pt x="4544854" y="3588544"/>
                  <a:pt x="4579144" y="3554254"/>
                  <a:pt x="4579144" y="3512344"/>
                </a:cubicBezTo>
                <a:lnTo>
                  <a:pt x="4579144" y="83344"/>
                </a:lnTo>
                <a:cubicBezTo>
                  <a:pt x="4579144" y="41434"/>
                  <a:pt x="4544854" y="7144"/>
                  <a:pt x="4502944" y="7144"/>
                </a:cubicBezTo>
                <a:close/>
                <a:moveTo>
                  <a:pt x="1493996" y="3893344"/>
                </a:moveTo>
                <a:lnTo>
                  <a:pt x="1587341" y="3588544"/>
                </a:lnTo>
                <a:lnTo>
                  <a:pt x="2998946" y="3588544"/>
                </a:lnTo>
                <a:lnTo>
                  <a:pt x="3092291" y="3893344"/>
                </a:lnTo>
                <a:lnTo>
                  <a:pt x="1493996" y="3893344"/>
                </a:lnTo>
                <a:close/>
                <a:moveTo>
                  <a:pt x="4426744" y="3436144"/>
                </a:moveTo>
                <a:lnTo>
                  <a:pt x="159544" y="3436144"/>
                </a:lnTo>
                <a:lnTo>
                  <a:pt x="159544" y="159544"/>
                </a:lnTo>
                <a:lnTo>
                  <a:pt x="4426744" y="159544"/>
                </a:lnTo>
                <a:lnTo>
                  <a:pt x="4426744" y="3436144"/>
                </a:lnTo>
                <a:close/>
                <a:moveTo>
                  <a:pt x="921544" y="2826544"/>
                </a:moveTo>
                <a:lnTo>
                  <a:pt x="616744" y="2826544"/>
                </a:lnTo>
                <a:cubicBezTo>
                  <a:pt x="574834" y="2826544"/>
                  <a:pt x="540544" y="2860834"/>
                  <a:pt x="540544" y="2902744"/>
                </a:cubicBezTo>
                <a:lnTo>
                  <a:pt x="540544" y="3207544"/>
                </a:lnTo>
                <a:cubicBezTo>
                  <a:pt x="540544" y="3249454"/>
                  <a:pt x="574834" y="3283744"/>
                  <a:pt x="616744" y="3283744"/>
                </a:cubicBezTo>
                <a:lnTo>
                  <a:pt x="921544" y="3283744"/>
                </a:lnTo>
                <a:cubicBezTo>
                  <a:pt x="963454" y="3283744"/>
                  <a:pt x="997744" y="3249454"/>
                  <a:pt x="997744" y="3207544"/>
                </a:cubicBezTo>
                <a:lnTo>
                  <a:pt x="997744" y="2902744"/>
                </a:lnTo>
                <a:cubicBezTo>
                  <a:pt x="997744" y="2860834"/>
                  <a:pt x="963454" y="2826544"/>
                  <a:pt x="921544" y="2826544"/>
                </a:cubicBezTo>
                <a:close/>
                <a:moveTo>
                  <a:pt x="845344" y="3131344"/>
                </a:moveTo>
                <a:lnTo>
                  <a:pt x="692944" y="3131344"/>
                </a:lnTo>
                <a:lnTo>
                  <a:pt x="692944" y="2978944"/>
                </a:lnTo>
                <a:lnTo>
                  <a:pt x="845344" y="2978944"/>
                </a:lnTo>
                <a:lnTo>
                  <a:pt x="845344" y="3131344"/>
                </a:lnTo>
                <a:close/>
                <a:moveTo>
                  <a:pt x="1683544" y="2674144"/>
                </a:moveTo>
                <a:lnTo>
                  <a:pt x="1378744" y="2674144"/>
                </a:lnTo>
                <a:cubicBezTo>
                  <a:pt x="1336834" y="2674144"/>
                  <a:pt x="1302544" y="2708434"/>
                  <a:pt x="1302544" y="2750344"/>
                </a:cubicBezTo>
                <a:lnTo>
                  <a:pt x="1302544" y="3207544"/>
                </a:lnTo>
                <a:cubicBezTo>
                  <a:pt x="1302544" y="3249454"/>
                  <a:pt x="1336834" y="3283744"/>
                  <a:pt x="1378744" y="3283744"/>
                </a:cubicBezTo>
                <a:lnTo>
                  <a:pt x="1683544" y="3283744"/>
                </a:lnTo>
                <a:cubicBezTo>
                  <a:pt x="1725454" y="3283744"/>
                  <a:pt x="1759744" y="3249454"/>
                  <a:pt x="1759744" y="3207544"/>
                </a:cubicBezTo>
                <a:lnTo>
                  <a:pt x="1759744" y="2750344"/>
                </a:lnTo>
                <a:cubicBezTo>
                  <a:pt x="1759744" y="2708434"/>
                  <a:pt x="1725454" y="2674144"/>
                  <a:pt x="1683544" y="2674144"/>
                </a:cubicBezTo>
                <a:close/>
                <a:moveTo>
                  <a:pt x="1607344" y="3131344"/>
                </a:moveTo>
                <a:lnTo>
                  <a:pt x="1454944" y="3131344"/>
                </a:lnTo>
                <a:lnTo>
                  <a:pt x="1454944" y="2826544"/>
                </a:lnTo>
                <a:lnTo>
                  <a:pt x="1607344" y="2826544"/>
                </a:lnTo>
                <a:lnTo>
                  <a:pt x="1607344" y="3131344"/>
                </a:lnTo>
                <a:close/>
                <a:moveTo>
                  <a:pt x="2445544" y="2369344"/>
                </a:moveTo>
                <a:lnTo>
                  <a:pt x="2140744" y="2369344"/>
                </a:lnTo>
                <a:cubicBezTo>
                  <a:pt x="2098834" y="2369344"/>
                  <a:pt x="2064544" y="2403634"/>
                  <a:pt x="2064544" y="2445544"/>
                </a:cubicBezTo>
                <a:lnTo>
                  <a:pt x="2064544" y="3207544"/>
                </a:lnTo>
                <a:cubicBezTo>
                  <a:pt x="2064544" y="3249454"/>
                  <a:pt x="2098834" y="3283744"/>
                  <a:pt x="2140744" y="3283744"/>
                </a:cubicBezTo>
                <a:lnTo>
                  <a:pt x="2445544" y="3283744"/>
                </a:lnTo>
                <a:cubicBezTo>
                  <a:pt x="2487454" y="3283744"/>
                  <a:pt x="2521744" y="3249454"/>
                  <a:pt x="2521744" y="3207544"/>
                </a:cubicBezTo>
                <a:lnTo>
                  <a:pt x="2521744" y="2445544"/>
                </a:lnTo>
                <a:cubicBezTo>
                  <a:pt x="2521744" y="2403634"/>
                  <a:pt x="2487454" y="2369344"/>
                  <a:pt x="2445544" y="2369344"/>
                </a:cubicBezTo>
                <a:close/>
                <a:moveTo>
                  <a:pt x="2369344" y="3131344"/>
                </a:moveTo>
                <a:lnTo>
                  <a:pt x="2216944" y="3131344"/>
                </a:lnTo>
                <a:lnTo>
                  <a:pt x="2216944" y="2521744"/>
                </a:lnTo>
                <a:lnTo>
                  <a:pt x="2369344" y="2521744"/>
                </a:lnTo>
                <a:lnTo>
                  <a:pt x="2369344" y="3131344"/>
                </a:lnTo>
                <a:close/>
                <a:moveTo>
                  <a:pt x="3207544" y="1912144"/>
                </a:moveTo>
                <a:lnTo>
                  <a:pt x="2902744" y="1912144"/>
                </a:lnTo>
                <a:cubicBezTo>
                  <a:pt x="2860834" y="1912144"/>
                  <a:pt x="2826544" y="1946434"/>
                  <a:pt x="2826544" y="1988344"/>
                </a:cubicBezTo>
                <a:lnTo>
                  <a:pt x="2826544" y="3207544"/>
                </a:lnTo>
                <a:cubicBezTo>
                  <a:pt x="2826544" y="3249454"/>
                  <a:pt x="2860834" y="3283744"/>
                  <a:pt x="2902744" y="3283744"/>
                </a:cubicBezTo>
                <a:lnTo>
                  <a:pt x="3207544" y="3283744"/>
                </a:lnTo>
                <a:cubicBezTo>
                  <a:pt x="3249454" y="3283744"/>
                  <a:pt x="3283744" y="3249454"/>
                  <a:pt x="3283744" y="3207544"/>
                </a:cubicBezTo>
                <a:lnTo>
                  <a:pt x="3283744" y="1988344"/>
                </a:lnTo>
                <a:cubicBezTo>
                  <a:pt x="3283744" y="1946434"/>
                  <a:pt x="3249454" y="1912144"/>
                  <a:pt x="3207544" y="1912144"/>
                </a:cubicBezTo>
                <a:close/>
                <a:moveTo>
                  <a:pt x="3131344" y="3131344"/>
                </a:moveTo>
                <a:lnTo>
                  <a:pt x="2978944" y="3131344"/>
                </a:lnTo>
                <a:lnTo>
                  <a:pt x="2978944" y="2064544"/>
                </a:lnTo>
                <a:lnTo>
                  <a:pt x="3131344" y="2064544"/>
                </a:lnTo>
                <a:lnTo>
                  <a:pt x="3131344" y="3131344"/>
                </a:lnTo>
                <a:close/>
                <a:moveTo>
                  <a:pt x="3969544" y="1073944"/>
                </a:moveTo>
                <a:lnTo>
                  <a:pt x="3664744" y="1073944"/>
                </a:lnTo>
                <a:cubicBezTo>
                  <a:pt x="3622834" y="1073944"/>
                  <a:pt x="3588544" y="1108234"/>
                  <a:pt x="3588544" y="1150144"/>
                </a:cubicBezTo>
                <a:lnTo>
                  <a:pt x="3588544" y="3207544"/>
                </a:lnTo>
                <a:cubicBezTo>
                  <a:pt x="3588544" y="3249454"/>
                  <a:pt x="3622834" y="3283744"/>
                  <a:pt x="3664744" y="3283744"/>
                </a:cubicBezTo>
                <a:lnTo>
                  <a:pt x="3969544" y="3283744"/>
                </a:lnTo>
                <a:cubicBezTo>
                  <a:pt x="4011454" y="3283744"/>
                  <a:pt x="4045744" y="3249454"/>
                  <a:pt x="4045744" y="3207544"/>
                </a:cubicBezTo>
                <a:lnTo>
                  <a:pt x="4045744" y="1150144"/>
                </a:lnTo>
                <a:cubicBezTo>
                  <a:pt x="4045744" y="1108234"/>
                  <a:pt x="4011454" y="1073944"/>
                  <a:pt x="3969544" y="1073944"/>
                </a:cubicBezTo>
                <a:close/>
                <a:moveTo>
                  <a:pt x="3893344" y="3131344"/>
                </a:moveTo>
                <a:lnTo>
                  <a:pt x="3740944" y="3131344"/>
                </a:lnTo>
                <a:lnTo>
                  <a:pt x="3740944" y="1226344"/>
                </a:lnTo>
                <a:lnTo>
                  <a:pt x="3893344" y="1226344"/>
                </a:lnTo>
                <a:lnTo>
                  <a:pt x="3893344" y="3131344"/>
                </a:lnTo>
                <a:close/>
              </a:path>
            </a:pathLst>
          </a:custGeom>
          <a:solidFill>
            <a:srgbClr val="000000"/>
          </a:solidFill>
          <a:ln w="9525" cap="flat">
            <a:noFill/>
            <a:prstDash val="solid"/>
            <a:miter/>
          </a:ln>
        </p:spPr>
        <p:txBody>
          <a:bodyPr rtlCol="0" anchor="ctr"/>
          <a:lstStyle/>
          <a:p>
            <a:endParaRPr lang="sr-Latn-RS" sz="2400"/>
          </a:p>
        </p:txBody>
      </p:sp>
      <p:sp>
        <p:nvSpPr>
          <p:cNvPr id="15" name="TextBox 14">
            <a:extLst>
              <a:ext uri="{FF2B5EF4-FFF2-40B4-BE49-F238E27FC236}">
                <a16:creationId xmlns:a16="http://schemas.microsoft.com/office/drawing/2014/main" id="{8FB1C862-75F6-4E6B-8F2A-4820E8E2C017}"/>
              </a:ext>
            </a:extLst>
          </p:cNvPr>
          <p:cNvSpPr txBox="1"/>
          <p:nvPr/>
        </p:nvSpPr>
        <p:spPr>
          <a:xfrm>
            <a:off x="9247094" y="803102"/>
            <a:ext cx="2077002" cy="600164"/>
          </a:xfrm>
          <a:prstGeom prst="rect">
            <a:avLst/>
          </a:prstGeom>
          <a:noFill/>
        </p:spPr>
        <p:txBody>
          <a:bodyPr wrap="square">
            <a:spAutoFit/>
          </a:bodyPr>
          <a:lstStyle/>
          <a:p>
            <a:pPr lvl="2"/>
            <a:r>
              <a:rPr lang="en-US" sz="1100" i="1" dirty="0"/>
              <a:t>“</a:t>
            </a:r>
            <a:r>
              <a:rPr lang="en-US" sz="1100" i="1" u="sng" dirty="0"/>
              <a:t>improve the activities and processes</a:t>
            </a:r>
            <a:r>
              <a:rPr lang="en-US" sz="1100" i="1" dirty="0"/>
              <a:t>”</a:t>
            </a:r>
            <a:endParaRPr lang="en-US" sz="1100" dirty="0"/>
          </a:p>
        </p:txBody>
      </p:sp>
    </p:spTree>
    <p:extLst>
      <p:ext uri="{BB962C8B-B14F-4D97-AF65-F5344CB8AC3E}">
        <p14:creationId xmlns:p14="http://schemas.microsoft.com/office/powerpoint/2010/main" val="40228542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C8D6A-5A32-471E-B08B-3BB2A8B6935E}"/>
              </a:ext>
            </a:extLst>
          </p:cNvPr>
          <p:cNvSpPr>
            <a:spLocks noGrp="1"/>
          </p:cNvSpPr>
          <p:nvPr>
            <p:ph type="title"/>
          </p:nvPr>
        </p:nvSpPr>
        <p:spPr/>
        <p:txBody>
          <a:bodyPr/>
          <a:lstStyle/>
          <a:p>
            <a:r>
              <a:rPr lang="en-US"/>
              <a:t>Thank you for watching!</a:t>
            </a:r>
            <a:endParaRPr lang="en-US" dirty="0"/>
          </a:p>
        </p:txBody>
      </p:sp>
    </p:spTree>
    <p:extLst>
      <p:ext uri="{BB962C8B-B14F-4D97-AF65-F5344CB8AC3E}">
        <p14:creationId xmlns:p14="http://schemas.microsoft.com/office/powerpoint/2010/main" val="2836743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7G5XY7nRzmvtwuV3NL.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C0HQCq7Sli1riiOwb7WTA"/>
</p:tagLst>
</file>

<file path=ppt/theme/theme1.xml><?xml version="1.0" encoding="utf-8"?>
<a:theme xmlns:a="http://schemas.openxmlformats.org/drawingml/2006/main" name="Office Theme">
  <a:themeElements>
    <a:clrScheme name="Custom 353">
      <a:dk1>
        <a:srgbClr val="000000"/>
      </a:dk1>
      <a:lt1>
        <a:sysClr val="window" lastClr="FFFFFF"/>
      </a:lt1>
      <a:dk2>
        <a:srgbClr val="445467"/>
      </a:dk2>
      <a:lt2>
        <a:srgbClr val="E7E6E6"/>
      </a:lt2>
      <a:accent1>
        <a:srgbClr val="BC2026"/>
      </a:accent1>
      <a:accent2>
        <a:srgbClr val="F47D60"/>
      </a:accent2>
      <a:accent3>
        <a:srgbClr val="F1553D"/>
      </a:accent3>
      <a:accent4>
        <a:srgbClr val="931A1D"/>
      </a:accent4>
      <a:accent5>
        <a:srgbClr val="F9AC91"/>
      </a:accent5>
      <a:accent6>
        <a:srgbClr val="B4B4B4"/>
      </a:accent6>
      <a:hlink>
        <a:srgbClr val="F47D60"/>
      </a:hlink>
      <a:folHlink>
        <a:srgbClr val="F1553D"/>
      </a:folHlink>
    </a:clrScheme>
    <a:fontScheme name="Custom 8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43742752-C9DF-4E10-B1C2-B4249C77DD57}" vid="{894653B2-B35C-4F27-BCE8-0C817B610E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2886</TotalTime>
  <Words>865</Words>
  <Application>Microsoft Office PowerPoint</Application>
  <PresentationFormat>Widescreen</PresentationFormat>
  <Paragraphs>98</Paragraphs>
  <Slides>9</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3" baseType="lpstr">
      <vt:lpstr>Arial</vt:lpstr>
      <vt:lpstr>Wingdings 3</vt:lpstr>
      <vt:lpstr>Office Theme</vt:lpstr>
      <vt:lpstr>think-cell Slide</vt:lpstr>
      <vt:lpstr>D1.3 | Section 3.2 Transversal activities</vt:lpstr>
      <vt:lpstr>D1.3 Improving a CCN pilot 3.2 Transversal activities </vt:lpstr>
      <vt:lpstr>D1.3 Improving a CCN pilot 3.2 Transversal activities </vt:lpstr>
      <vt:lpstr>D1.3 Improving a CCN pilot 3.2 Transversal activities </vt:lpstr>
      <vt:lpstr>D1.3 Improving a CCN pilot 3.2 Transversal activities </vt:lpstr>
      <vt:lpstr>D1.3 Improving a CCN pilot 3.2 Transversal activities </vt:lpstr>
      <vt:lpstr>D1.3 Improving a CCN pilot 3.2 Transversal activities </vt:lpstr>
      <vt:lpstr>D1.3 Improving a CCN pilot 3.2 Transversal activities </vt:lpstr>
      <vt:lpstr>Thank you for watching!</vt:lpstr>
    </vt:vector>
  </TitlesOfParts>
  <Company>Grizli777</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ca</dc:creator>
  <cp:lastModifiedBy>Gonçalo Rodrigues Cadete</cp:lastModifiedBy>
  <cp:revision>1191</cp:revision>
  <dcterms:created xsi:type="dcterms:W3CDTF">2016-11-27T15:46:03Z</dcterms:created>
  <dcterms:modified xsi:type="dcterms:W3CDTF">2020-12-01T08:28:08Z</dcterms:modified>
</cp:coreProperties>
</file>